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293" r:id="rId5"/>
    <p:sldId id="2147475109" r:id="rId6"/>
    <p:sldId id="2147475246" r:id="rId7"/>
    <p:sldId id="2147475120" r:id="rId8"/>
    <p:sldId id="298" r:id="rId9"/>
    <p:sldId id="295" r:id="rId10"/>
    <p:sldId id="2147475245" r:id="rId11"/>
    <p:sldId id="327" r:id="rId12"/>
    <p:sldId id="322" r:id="rId13"/>
    <p:sldId id="2147475234" r:id="rId14"/>
    <p:sldId id="323" r:id="rId15"/>
    <p:sldId id="325" r:id="rId16"/>
    <p:sldId id="328" r:id="rId17"/>
    <p:sldId id="2147475235" r:id="rId18"/>
    <p:sldId id="2147475236" r:id="rId19"/>
    <p:sldId id="2147475190" r:id="rId20"/>
    <p:sldId id="2147475200" r:id="rId21"/>
    <p:sldId id="2147475248" r:id="rId2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6BCE59-276F-D708-EB9C-9CA3299F0EDA}" name="Nina Stolle" initials="NS" userId="S::nina.stolle@metafinanz.de::a6889f2b-26be-4b19-9db4-ff1ae038a03d" providerId="AD"/>
  <p188:author id="{83867EFB-F871-9E0F-ACD4-99C3810A65AC}" name="Nina Stolle" initials="NS" userId="S::Nina.Stolle@metafinanz.de::a6889f2b-26be-4b19-9db4-ff1ae038a03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0F1327E-987C-D4DA-FADE-FF64B88CA5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DED31C-FBB6-1CC8-42D7-268448D30D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88800-3BD9-4BCD-807E-9B70930F0216}" type="datetimeFigureOut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A7E5AA-3A5A-0DAD-A0A1-C9DF45B353D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9C7074-846B-5260-19E6-B6680938D98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B4B258-B039-4E5A-A48C-CE6BE698179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939125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183542-4853-419D-A4DA-CDCAD97E293A}" type="datetimeFigureOut">
              <a:rPr lang="de-DE" smtClean="0"/>
              <a:t>10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6D030C-4B5E-4878-82A6-AB740E49A7A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0463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6D030C-4B5E-4878-82A6-AB740E49A7A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8413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6D030C-4B5E-4878-82A6-AB740E49A7A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96617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6D030C-4B5E-4878-82A6-AB740E49A7A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72279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6D030C-4B5E-4878-82A6-AB740E49A7A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31144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872273-6A65-180B-FD26-F5D3D9FE2C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BA4204-7D33-FB12-39AD-CDC518FD13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87ED97-E87F-23B8-2E6F-3EAB06728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B8A46D-5DEC-3ACE-8862-9A45744D46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6D030C-4B5E-4878-82A6-AB740E49A7A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95087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BEEF97-7850-D74F-6E24-0A64615800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4E3CCF-2DB9-43E7-BFD0-0770A28FB8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56456D-A795-C34C-49B6-CF4A3491F5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502885-68F8-DCBE-2A39-791F54C0BE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6D030C-4B5E-4878-82A6-AB740E49A7A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37612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4F503-E525-DE36-90A2-FAB6B1838E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4AB0C97-D08B-F64A-C308-7982DE2741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FE9650D-F10A-2F37-CF05-6417E04DFB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FDBC56-A4B9-B8E7-3D18-632004B550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6D030C-4B5E-4878-82A6-AB740E49A7AB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21568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79688C-8A2F-7EF9-AA3F-6B74FBB722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749BEE4-521F-7FB9-F4AF-08FCE16776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8203852-A6F5-AE36-041A-C358F94A9B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5C6264-1EC5-8553-3719-225D36757F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6D030C-4B5E-4878-82A6-AB740E49A7AB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13456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358CDF-C927-8FD4-BCD6-7159D88288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D49CAAC-FABD-6544-2247-25D45AD7C9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B566851-6AD2-EBAA-5AEE-41B04A6BA8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3A63373-AD14-07FC-D277-5EC60CA4DA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6D030C-4B5E-4878-82A6-AB740E49A7A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5911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 bwMode="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D8A9E9-EC97-4F1F-0DB1-719D8FD9F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325" y="1639253"/>
            <a:ext cx="10801349" cy="2559367"/>
          </a:xfrm>
        </p:spPr>
        <p:txBody>
          <a:bodyPr anchor="t"/>
          <a:lstStyle>
            <a:lvl1pPr algn="ctr">
              <a:defRPr sz="48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0964F6C-573B-903C-F4BA-07B7EF70F6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64190" y="4551207"/>
            <a:ext cx="1663620" cy="1463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010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links)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8832144-AABD-0EDB-9291-7302327B4D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6096000" cy="6858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A86C2C-B5D8-C78B-F285-B9980A78A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363" y="692150"/>
            <a:ext cx="5040313" cy="1005236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C243B3E-709A-EF88-BBF0-20ACC3A50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9DA99491-65E4-40B2-A4DB-4F184164CA36}" type="datetime1">
              <a:rPr lang="de-DE" smtClean="0"/>
              <a:t>10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6BAD14-B5DD-DBA1-5528-A51908B2F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Zukunftsbild gestal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219A37-D084-7DD6-DA33-10DCBD8DD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5DD7498D-BD66-41E4-84B9-C21AC1B727A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4AECEA-F9F5-E15E-4F78-DC80EE9F58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6364" y="298450"/>
            <a:ext cx="5040312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926B0EC-597A-6BDB-DBF0-90F1227C9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6364" y="2312988"/>
            <a:ext cx="5040312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43515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rechts)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A86C2C-B5D8-C78B-F285-B9980A78A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692150"/>
            <a:ext cx="5040314" cy="1005236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C243B3E-709A-EF88-BBF0-20ACC3A50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63C85-15EE-45A3-82CB-EBE6354AC224}" type="datetime1">
              <a:rPr lang="de-DE" smtClean="0"/>
              <a:t>10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6BAD14-B5DD-DBA1-5528-A51908B2F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219A37-D084-7DD6-DA33-10DCBD8DD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4AECEA-F9F5-E15E-4F78-DC80EE9F58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298450"/>
            <a:ext cx="50403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926B0EC-597A-6BDB-DBF0-90F1227C9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5" y="2312988"/>
            <a:ext cx="5040313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8832144-AABD-0EDB-9291-7302327B4D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077307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rechts, klein)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A86C2C-B5D8-C78B-F285-B9980A78A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692150"/>
            <a:ext cx="8316915" cy="1005236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C243B3E-709A-EF88-BBF0-20ACC3A50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79BEC-3088-4E60-B9B0-0898FD6F89E9}" type="datetime1">
              <a:rPr lang="de-DE" smtClean="0"/>
              <a:t>10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6BAD14-B5DD-DBA1-5528-A51908B2F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219A37-D084-7DD6-DA33-10DCBD8DD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4AECEA-F9F5-E15E-4F78-DC80EE9F58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926B0EC-597A-6BDB-DBF0-90F1227C9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5" y="2312988"/>
            <a:ext cx="5040313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8832144-AABD-0EDB-9291-7302327B4D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56363" y="2312988"/>
            <a:ext cx="3888000" cy="3887787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139135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3 Bild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B02D26-61BA-2CE6-77AD-DB1074D15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064A6-3557-4A70-8825-4EEA1FFE2FF1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A7BCCEC7-7E65-C7B8-7520-DD2E67C3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F22CB780-C32F-DD28-CD57-11F59C13D85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95325" y="2312988"/>
            <a:ext cx="3362323" cy="2249487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86FDA989-B3AD-DFBD-673E-6D6C238351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5325" y="4646613"/>
            <a:ext cx="3362325" cy="1554162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8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Bildplatzhalter 10">
            <a:extLst>
              <a:ext uri="{FF2B5EF4-FFF2-40B4-BE49-F238E27FC236}">
                <a16:creationId xmlns:a16="http://schemas.microsoft.com/office/drawing/2014/main" id="{038838BA-A7AD-2876-4FC9-0090DE8ECC5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414839" y="2312988"/>
            <a:ext cx="3362323" cy="2249487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09E4A75-B3C0-DA3E-DEEE-998D9DF986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14839" y="4646613"/>
            <a:ext cx="3362325" cy="1554162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8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877E1C4D-9964-05C3-A67A-02A49A59ECE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134352" y="2312988"/>
            <a:ext cx="3362323" cy="2249487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831AD8C4-8F80-5350-0F55-A353306F161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34352" y="4646613"/>
            <a:ext cx="3362325" cy="1554162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8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5096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B02D26-61BA-2CE6-77AD-DB1074D15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AEAB5-CBE0-4961-8FC5-5D20D3D4F4C3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A7BCCEC7-7E65-C7B8-7520-DD2E67C3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2734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1CA1C09-DA05-8E36-B26A-CF238DC0A4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D79348-E5B6-4B65-AE3E-402D7FBD1525}" type="datetime1">
              <a:rPr lang="de-DE" smtClean="0"/>
              <a:t>10.06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4D2307-8A4F-4025-212F-9BCC41CB4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1308A81-F521-823C-4DD7-4BE936BEE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99277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(spectral)">
    <p:bg bwMode="gray">
      <p:bgPr>
        <a:gradFill>
          <a:gsLst>
            <a:gs pos="5000">
              <a:schemeClr val="accent2"/>
            </a:gs>
            <a:gs pos="48000">
              <a:schemeClr val="accent4"/>
            </a:gs>
            <a:gs pos="88000">
              <a:schemeClr val="accent5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B02D26-61BA-2CE6-77AD-DB1074D15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8E29C3-7EFA-4503-A023-79857D40ACC7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A7BCCEC7-7E65-C7B8-7520-DD2E67C3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0931A22A-C536-A48B-0B30-E38BFF08A1F4}"/>
              </a:ext>
            </a:extLst>
          </p:cNvPr>
          <p:cNvSpPr>
            <a:spLocks noChangeAspect="1"/>
          </p:cNvSpPr>
          <p:nvPr userDrawn="1"/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tx1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7350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(blau)">
    <p:bg bwMode="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B02D26-61BA-2CE6-77AD-DB1074D15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809C695-FF6A-4DF5-B621-8B2D365E83E4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5DD7498D-BD66-41E4-84B9-C21AC1B727A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A7BCCEC7-7E65-C7B8-7520-DD2E67C3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0931A22A-C536-A48B-0B30-E38BFF08A1F4}"/>
              </a:ext>
            </a:extLst>
          </p:cNvPr>
          <p:cNvSpPr>
            <a:spLocks noChangeAspect="1"/>
          </p:cNvSpPr>
          <p:nvPr userDrawn="1"/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bg2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71770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(grün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B02D26-61BA-2CE6-77AD-DB1074D15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615FAC4-418C-4A49-BE8B-623370D92D1E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5DD7498D-BD66-41E4-84B9-C21AC1B727A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A7BCCEC7-7E65-C7B8-7520-DD2E67C3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0931A22A-C536-A48B-0B30-E38BFF08A1F4}"/>
              </a:ext>
            </a:extLst>
          </p:cNvPr>
          <p:cNvSpPr>
            <a:spLocks noChangeAspect="1"/>
          </p:cNvSpPr>
          <p:nvPr userDrawn="1"/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bg2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9794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bg bwMode="gray">
      <p:bgPr>
        <a:gradFill>
          <a:gsLst>
            <a:gs pos="5000">
              <a:schemeClr val="accent2"/>
            </a:gs>
            <a:gs pos="48000">
              <a:schemeClr val="accent4"/>
            </a:gs>
            <a:gs pos="88000">
              <a:schemeClr val="accent5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B02D26-61BA-2CE6-77AD-DB1074D153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692149"/>
            <a:ext cx="10801350" cy="5508625"/>
          </a:xfrm>
        </p:spPr>
        <p:txBody>
          <a:bodyPr anchor="ctr"/>
          <a:lstStyle>
            <a:lvl1pPr algn="ctr">
              <a:defRPr sz="4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45E25-0CB5-4022-A072-082570C68F70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0931A22A-C536-A48B-0B30-E38BFF08A1F4}"/>
              </a:ext>
            </a:extLst>
          </p:cNvPr>
          <p:cNvSpPr>
            <a:spLocks noChangeAspect="1"/>
          </p:cNvSpPr>
          <p:nvPr userDrawn="1"/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tx1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06143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2">
    <p:bg bwMode="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A9DA47E3-7477-206C-A247-1F67FD0C66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00266" y="2275096"/>
            <a:ext cx="2622510" cy="230780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FD8A9E9-EC97-4F1F-0DB1-719D8FD9F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35637" y="2312988"/>
            <a:ext cx="5761037" cy="2232024"/>
          </a:xfrm>
        </p:spPr>
        <p:txBody>
          <a:bodyPr anchor="ctr"/>
          <a:lstStyle>
            <a:lvl1pPr algn="l">
              <a:defRPr sz="40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4A9F03C-878F-E0BA-7348-D17D627556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35637" y="1470660"/>
            <a:ext cx="5761037" cy="335280"/>
          </a:xfrm>
        </p:spPr>
        <p:txBody>
          <a:bodyPr anchor="b"/>
          <a:lstStyle>
            <a:lvl1pPr marL="0" indent="0" algn="l">
              <a:buNone/>
              <a:defRPr sz="1400" b="1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err="1"/>
              <a:t>Top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06765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kurz)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9BC652-8A8C-4E24-9E83-2194818B82EB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86FDA989-B3AD-DFBD-673E-6D6C238351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26888" y="2312989"/>
            <a:ext cx="7541011" cy="2251392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32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AD89987-BF39-8A0A-AD50-798EBF55B7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6888" y="1383936"/>
            <a:ext cx="994410" cy="685800"/>
          </a:xfrm>
          <a:prstGeom prst="rect">
            <a:avLst/>
          </a:prstGeom>
        </p:spPr>
      </p:pic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15D642D-880C-929D-BFCE-4F3B665B7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26888" y="4739640"/>
            <a:ext cx="7541011" cy="388620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0352FD17-6969-CE4F-041D-A62F599AAC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326888" y="5181601"/>
            <a:ext cx="7541011" cy="292464"/>
          </a:xfrm>
        </p:spPr>
        <p:txBody>
          <a:bodyPr anchor="t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Position oder Titel</a:t>
            </a: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B22C475C-364A-C14A-896C-006A9706D2EF}"/>
              </a:ext>
            </a:extLst>
          </p:cNvPr>
          <p:cNvSpPr>
            <a:spLocks noChangeAspect="1"/>
          </p:cNvSpPr>
          <p:nvPr userDrawn="1"/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tx1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18945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kurz) mit Portrai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938C9-BBA4-464B-9C6D-D9527ACC9CA3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86FDA989-B3AD-DFBD-673E-6D6C238351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26888" y="2312989"/>
            <a:ext cx="7541011" cy="2251392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32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AD89987-BF39-8A0A-AD50-798EBF55B7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6888" y="1383936"/>
            <a:ext cx="994410" cy="685800"/>
          </a:xfrm>
          <a:prstGeom prst="rect">
            <a:avLst/>
          </a:prstGeom>
        </p:spPr>
      </p:pic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15D642D-880C-929D-BFCE-4F3B665B7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77540" y="4720590"/>
            <a:ext cx="6690359" cy="388620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0352FD17-6969-CE4F-041D-A62F599AAC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7540" y="5162551"/>
            <a:ext cx="6690359" cy="292464"/>
          </a:xfrm>
        </p:spPr>
        <p:txBody>
          <a:bodyPr anchor="t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Position oder Titel</a:t>
            </a: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B22C475C-364A-C14A-896C-006A9706D2EF}"/>
              </a:ext>
            </a:extLst>
          </p:cNvPr>
          <p:cNvSpPr>
            <a:spLocks noChangeAspect="1"/>
          </p:cNvSpPr>
          <p:nvPr userDrawn="1"/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tx1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6" name="Bildplatzhalter 10">
            <a:extLst>
              <a:ext uri="{FF2B5EF4-FFF2-40B4-BE49-F238E27FC236}">
                <a16:creationId xmlns:a16="http://schemas.microsoft.com/office/drawing/2014/main" id="{73DF3439-D816-423B-53AE-C3E3E13E536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324101" y="4739640"/>
            <a:ext cx="720000" cy="720000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7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400184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ang) mit Portrai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A7FF2-4A0A-4E5F-BEAE-244ABCE72C9F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86FDA989-B3AD-DFBD-673E-6D6C238351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26888" y="1630680"/>
            <a:ext cx="7541011" cy="3611880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24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AD89987-BF39-8A0A-AD50-798EBF55B7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6888" y="712560"/>
            <a:ext cx="994410" cy="685800"/>
          </a:xfrm>
          <a:prstGeom prst="rect">
            <a:avLst/>
          </a:prstGeom>
        </p:spPr>
      </p:pic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15D642D-880C-929D-BFCE-4F3B665B7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77540" y="5465580"/>
            <a:ext cx="6690359" cy="388620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0352FD17-6969-CE4F-041D-A62F599AAC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7540" y="5907541"/>
            <a:ext cx="6690359" cy="292464"/>
          </a:xfrm>
        </p:spPr>
        <p:txBody>
          <a:bodyPr anchor="t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Position oder Titel</a:t>
            </a: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B22C475C-364A-C14A-896C-006A9706D2EF}"/>
              </a:ext>
            </a:extLst>
          </p:cNvPr>
          <p:cNvSpPr>
            <a:spLocks noChangeAspect="1"/>
          </p:cNvSpPr>
          <p:nvPr userDrawn="1"/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tx1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6" name="Bildplatzhalter 10">
            <a:extLst>
              <a:ext uri="{FF2B5EF4-FFF2-40B4-BE49-F238E27FC236}">
                <a16:creationId xmlns:a16="http://schemas.microsoft.com/office/drawing/2014/main" id="{73DF3439-D816-423B-53AE-C3E3E13E536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324101" y="5484630"/>
            <a:ext cx="720000" cy="720000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7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155016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1 Person">
    <p:bg bwMode="gray">
      <p:bgPr>
        <a:gradFill>
          <a:gsLst>
            <a:gs pos="0">
              <a:schemeClr val="accent2"/>
            </a:gs>
            <a:gs pos="55000">
              <a:schemeClr val="accent4"/>
            </a:gs>
            <a:gs pos="100000">
              <a:schemeClr val="accent5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bgerundetes Rechteck 16">
            <a:extLst>
              <a:ext uri="{FF2B5EF4-FFF2-40B4-BE49-F238E27FC236}">
                <a16:creationId xmlns:a16="http://schemas.microsoft.com/office/drawing/2014/main" id="{B30625D0-1566-60A9-E65B-EB948F46ABCF}"/>
              </a:ext>
            </a:extLst>
          </p:cNvPr>
          <p:cNvSpPr/>
          <p:nvPr userDrawn="1"/>
        </p:nvSpPr>
        <p:spPr bwMode="gray">
          <a:xfrm>
            <a:off x="1749786" y="1062733"/>
            <a:ext cx="8703707" cy="4693979"/>
          </a:xfrm>
          <a:prstGeom prst="roundRect">
            <a:avLst>
              <a:gd name="adj" fmla="val 7481"/>
            </a:avLst>
          </a:prstGeom>
          <a:solidFill>
            <a:schemeClr val="bg1"/>
          </a:solidFill>
          <a:ln w="317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1" b="0" i="0">
              <a:latin typeface="Avenir Next LT Pro" panose="020B0504020202020204" pitchFamily="34" charset="77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F3374EE-9951-4396-85B5-440B07B08555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A7BCCEC7-7E65-C7B8-7520-DD2E67C3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1D2DF6-B542-A65D-361E-041866DB15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735638" y="2312988"/>
            <a:ext cx="4132261" cy="1116012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9" name="Bildplatzhalter 10">
            <a:extLst>
              <a:ext uri="{FF2B5EF4-FFF2-40B4-BE49-F238E27FC236}">
                <a16:creationId xmlns:a16="http://schemas.microsoft.com/office/drawing/2014/main" id="{304B3F32-4787-6985-C3B0-5C94BE1E860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2708564" y="2227118"/>
            <a:ext cx="2403763" cy="2403763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5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6A669641-AF14-FD16-98CD-7122D92CB7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735638" y="3477489"/>
            <a:ext cx="4132261" cy="332509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C4A8BB49-769C-3D64-E414-2739D1F6F9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735638" y="3872341"/>
            <a:ext cx="4132261" cy="332509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E6D34F7C-B8F9-EAF1-5FD6-C0B987B814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735638" y="4267193"/>
            <a:ext cx="4132261" cy="332509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Telefon</a:t>
            </a: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DE4A787F-A44A-04FF-FB91-2CBBDB36B3DB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tx1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23368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2 Personen">
    <p:bg bwMode="gray">
      <p:bgPr>
        <a:gradFill>
          <a:gsLst>
            <a:gs pos="0">
              <a:schemeClr val="accent2"/>
            </a:gs>
            <a:gs pos="55000">
              <a:schemeClr val="accent4"/>
            </a:gs>
            <a:gs pos="100000">
              <a:schemeClr val="accent5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bgerundetes Rechteck 10">
            <a:extLst>
              <a:ext uri="{FF2B5EF4-FFF2-40B4-BE49-F238E27FC236}">
                <a16:creationId xmlns:a16="http://schemas.microsoft.com/office/drawing/2014/main" id="{AFF86651-AF30-564D-99CF-49E5E7E7A63C}"/>
              </a:ext>
            </a:extLst>
          </p:cNvPr>
          <p:cNvSpPr/>
          <p:nvPr userDrawn="1"/>
        </p:nvSpPr>
        <p:spPr bwMode="gray">
          <a:xfrm>
            <a:off x="1963828" y="1062734"/>
            <a:ext cx="3773397" cy="5138042"/>
          </a:xfrm>
          <a:prstGeom prst="roundRect">
            <a:avLst>
              <a:gd name="adj" fmla="val 6816"/>
            </a:avLst>
          </a:prstGeom>
          <a:solidFill>
            <a:schemeClr val="bg1"/>
          </a:solidFill>
          <a:ln w="508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1" b="0" i="0">
              <a:latin typeface="Avenir Next LT Pro" panose="020B0504020202020204" pitchFamily="34" charset="77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A0FD812-FB0E-4FB1-BCCB-6C961977D7D1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A7BCCEC7-7E65-C7B8-7520-DD2E67C3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1D2DF6-B542-A65D-361E-041866DB15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7650" y="3234302"/>
            <a:ext cx="3384168" cy="873641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9" name="Bildplatzhalter 10">
            <a:extLst>
              <a:ext uri="{FF2B5EF4-FFF2-40B4-BE49-F238E27FC236}">
                <a16:creationId xmlns:a16="http://schemas.microsoft.com/office/drawing/2014/main" id="{304B3F32-4787-6985-C3B0-5C94BE1E860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161263" y="1648624"/>
            <a:ext cx="1378527" cy="1378527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5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6A669641-AF14-FD16-98CD-7122D92CB7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57650" y="4156433"/>
            <a:ext cx="3384168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C4A8BB49-769C-3D64-E414-2739D1F6F9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57650" y="4634409"/>
            <a:ext cx="3384168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E6D34F7C-B8F9-EAF1-5FD6-C0B987B814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57650" y="5029261"/>
            <a:ext cx="3384168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Telefon</a:t>
            </a: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DE4A787F-A44A-04FF-FB91-2CBBDB36B3DB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tx1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" name="Abgerundetes Rechteck 10">
            <a:extLst>
              <a:ext uri="{FF2B5EF4-FFF2-40B4-BE49-F238E27FC236}">
                <a16:creationId xmlns:a16="http://schemas.microsoft.com/office/drawing/2014/main" id="{5B8D5449-D699-C580-2EDF-609E962DB7E9}"/>
              </a:ext>
            </a:extLst>
          </p:cNvPr>
          <p:cNvSpPr/>
          <p:nvPr userDrawn="1"/>
        </p:nvSpPr>
        <p:spPr bwMode="gray">
          <a:xfrm>
            <a:off x="6454775" y="1062734"/>
            <a:ext cx="3773397" cy="5138042"/>
          </a:xfrm>
          <a:prstGeom prst="roundRect">
            <a:avLst>
              <a:gd name="adj" fmla="val 6816"/>
            </a:avLst>
          </a:prstGeom>
          <a:solidFill>
            <a:schemeClr val="bg1"/>
          </a:solidFill>
          <a:ln w="508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1" b="0" i="0">
              <a:latin typeface="Avenir Next LT Pro" panose="020B0504020202020204" pitchFamily="34" charset="77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7D5C3A9-54B6-3EFB-582D-0003E95489D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48597" y="3234302"/>
            <a:ext cx="3384168" cy="873641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7" name="Bildplatzhalter 10">
            <a:extLst>
              <a:ext uri="{FF2B5EF4-FFF2-40B4-BE49-F238E27FC236}">
                <a16:creationId xmlns:a16="http://schemas.microsoft.com/office/drawing/2014/main" id="{3685A409-8B89-27F2-85B6-5EB241FE32F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 bwMode="gray">
          <a:xfrm>
            <a:off x="7652210" y="1648624"/>
            <a:ext cx="1378527" cy="1378527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5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945A133A-4219-7F38-DFA8-208BD1816C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648597" y="4156433"/>
            <a:ext cx="3384168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B7010A98-40FB-5A02-CC5E-7946457FE6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48597" y="4634409"/>
            <a:ext cx="3384168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007145BA-2BEB-082B-E9E8-EF08B04E2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48597" y="5029261"/>
            <a:ext cx="3384168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Telefon</a:t>
            </a:r>
          </a:p>
        </p:txBody>
      </p:sp>
    </p:spTree>
    <p:extLst>
      <p:ext uri="{BB962C8B-B14F-4D97-AF65-F5344CB8AC3E}">
        <p14:creationId xmlns:p14="http://schemas.microsoft.com/office/powerpoint/2010/main" val="30444068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3 Personen">
    <p:bg bwMode="gray">
      <p:bgPr>
        <a:gradFill>
          <a:gsLst>
            <a:gs pos="0">
              <a:schemeClr val="accent2"/>
            </a:gs>
            <a:gs pos="55000">
              <a:schemeClr val="accent4"/>
            </a:gs>
            <a:gs pos="100000">
              <a:schemeClr val="accent5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bgerundetes Rechteck 11">
            <a:extLst>
              <a:ext uri="{FF2B5EF4-FFF2-40B4-BE49-F238E27FC236}">
                <a16:creationId xmlns:a16="http://schemas.microsoft.com/office/drawing/2014/main" id="{93048481-1731-041C-54F3-F1A428404C24}"/>
              </a:ext>
            </a:extLst>
          </p:cNvPr>
          <p:cNvSpPr/>
          <p:nvPr userDrawn="1"/>
        </p:nvSpPr>
        <p:spPr bwMode="gray">
          <a:xfrm>
            <a:off x="695325" y="1062734"/>
            <a:ext cx="3375324" cy="5138042"/>
          </a:xfrm>
          <a:prstGeom prst="roundRect">
            <a:avLst>
              <a:gd name="adj" fmla="val 6816"/>
            </a:avLst>
          </a:prstGeom>
          <a:solidFill>
            <a:schemeClr val="bg1"/>
          </a:solidFill>
          <a:ln w="508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1" b="0" i="0">
              <a:latin typeface="Avenir Next LT Pro" panose="020B0504020202020204" pitchFamily="34" charset="77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117E2CB-547E-400B-842B-97EEEF72D569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A7BCCEC7-7E65-C7B8-7520-DD2E67C3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1D2DF6-B542-A65D-361E-041866DB15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98564" y="3234302"/>
            <a:ext cx="3177692" cy="873641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9" name="Bildplatzhalter 10">
            <a:extLst>
              <a:ext uri="{FF2B5EF4-FFF2-40B4-BE49-F238E27FC236}">
                <a16:creationId xmlns:a16="http://schemas.microsoft.com/office/drawing/2014/main" id="{304B3F32-4787-6985-C3B0-5C94BE1E860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1693723" y="1648624"/>
            <a:ext cx="1378527" cy="1378527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5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6A669641-AF14-FD16-98CD-7122D92CB7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98564" y="4156433"/>
            <a:ext cx="3177692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C4A8BB49-769C-3D64-E414-2739D1F6F9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98564" y="4634409"/>
            <a:ext cx="3177692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E6D34F7C-B8F9-EAF1-5FD6-C0B987B814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98564" y="5029261"/>
            <a:ext cx="3177692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Telefon</a:t>
            </a: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DE4A787F-A44A-04FF-FB91-2CBBDB36B3DB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tx1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1" name="Abgerundetes Rechteck 11">
            <a:extLst>
              <a:ext uri="{FF2B5EF4-FFF2-40B4-BE49-F238E27FC236}">
                <a16:creationId xmlns:a16="http://schemas.microsoft.com/office/drawing/2014/main" id="{FCFD63D7-8731-7BC5-9EAA-45513B558815}"/>
              </a:ext>
            </a:extLst>
          </p:cNvPr>
          <p:cNvSpPr/>
          <p:nvPr userDrawn="1"/>
        </p:nvSpPr>
        <p:spPr bwMode="gray">
          <a:xfrm>
            <a:off x="4408338" y="1062734"/>
            <a:ext cx="3375324" cy="5138042"/>
          </a:xfrm>
          <a:prstGeom prst="roundRect">
            <a:avLst>
              <a:gd name="adj" fmla="val 6816"/>
            </a:avLst>
          </a:prstGeom>
          <a:solidFill>
            <a:schemeClr val="bg1"/>
          </a:solidFill>
          <a:ln w="508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1" b="0" i="0">
              <a:latin typeface="Avenir Next LT Pro" panose="020B0504020202020204" pitchFamily="34" charset="77"/>
            </a:endParaRPr>
          </a:p>
        </p:txBody>
      </p: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1C65C231-340A-D48F-47C6-112CAAF3F57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511577" y="3234302"/>
            <a:ext cx="3177692" cy="873641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23" name="Bildplatzhalter 10">
            <a:extLst>
              <a:ext uri="{FF2B5EF4-FFF2-40B4-BE49-F238E27FC236}">
                <a16:creationId xmlns:a16="http://schemas.microsoft.com/office/drawing/2014/main" id="{7BD8DFF6-13FE-30C1-0AFF-5362639F8D3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 bwMode="gray">
          <a:xfrm>
            <a:off x="5406736" y="1648624"/>
            <a:ext cx="1378527" cy="1378527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5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16EFFBDB-D7D1-E32E-C273-A682681677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511577" y="4156433"/>
            <a:ext cx="3177692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E8191D26-991D-3451-CFFE-E360216EC2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511577" y="4634409"/>
            <a:ext cx="3177692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26" name="Textplatzhalter 10">
            <a:extLst>
              <a:ext uri="{FF2B5EF4-FFF2-40B4-BE49-F238E27FC236}">
                <a16:creationId xmlns:a16="http://schemas.microsoft.com/office/drawing/2014/main" id="{A8FE7988-3911-5B92-6A7C-B3CBC1D386A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11577" y="5029261"/>
            <a:ext cx="3177692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Telefon</a:t>
            </a:r>
          </a:p>
        </p:txBody>
      </p:sp>
      <p:sp>
        <p:nvSpPr>
          <p:cNvPr id="27" name="Abgerundetes Rechteck 11">
            <a:extLst>
              <a:ext uri="{FF2B5EF4-FFF2-40B4-BE49-F238E27FC236}">
                <a16:creationId xmlns:a16="http://schemas.microsoft.com/office/drawing/2014/main" id="{0CB59F9F-6C1E-F24F-2047-8E0E058C393A}"/>
              </a:ext>
            </a:extLst>
          </p:cNvPr>
          <p:cNvSpPr/>
          <p:nvPr userDrawn="1"/>
        </p:nvSpPr>
        <p:spPr bwMode="gray">
          <a:xfrm>
            <a:off x="8121351" y="1062734"/>
            <a:ext cx="3375324" cy="5138042"/>
          </a:xfrm>
          <a:prstGeom prst="roundRect">
            <a:avLst>
              <a:gd name="adj" fmla="val 6816"/>
            </a:avLst>
          </a:prstGeom>
          <a:solidFill>
            <a:schemeClr val="bg1"/>
          </a:solidFill>
          <a:ln w="508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1" b="0" i="0">
              <a:latin typeface="Avenir Next LT Pro" panose="020B0504020202020204" pitchFamily="34" charset="77"/>
            </a:endParaRPr>
          </a:p>
        </p:txBody>
      </p: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036BCA77-AADE-642C-177B-1753E28C81C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8224590" y="3234302"/>
            <a:ext cx="3177692" cy="873641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29" name="Bildplatzhalter 10">
            <a:extLst>
              <a:ext uri="{FF2B5EF4-FFF2-40B4-BE49-F238E27FC236}">
                <a16:creationId xmlns:a16="http://schemas.microsoft.com/office/drawing/2014/main" id="{A5AF6E7F-C393-3A8F-9E05-A769E42194D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gray">
          <a:xfrm>
            <a:off x="9119749" y="1648624"/>
            <a:ext cx="1378527" cy="1378527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5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C512D0E9-D55E-C47C-35DB-1667A22A13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224590" y="4156433"/>
            <a:ext cx="3177692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31" name="Textplatzhalter 10">
            <a:extLst>
              <a:ext uri="{FF2B5EF4-FFF2-40B4-BE49-F238E27FC236}">
                <a16:creationId xmlns:a16="http://schemas.microsoft.com/office/drawing/2014/main" id="{BC0D33F5-7845-50E0-6B75-04579F964D8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8224590" y="4634409"/>
            <a:ext cx="3177692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32" name="Textplatzhalter 10">
            <a:extLst>
              <a:ext uri="{FF2B5EF4-FFF2-40B4-BE49-F238E27FC236}">
                <a16:creationId xmlns:a16="http://schemas.microsoft.com/office/drawing/2014/main" id="{D6092DA7-2796-4C55-068E-4C510270FC1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224590" y="5029261"/>
            <a:ext cx="3177692" cy="332509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Telefon</a:t>
            </a:r>
          </a:p>
        </p:txBody>
      </p:sp>
    </p:spTree>
    <p:extLst>
      <p:ext uri="{BB962C8B-B14F-4D97-AF65-F5344CB8AC3E}">
        <p14:creationId xmlns:p14="http://schemas.microsoft.com/office/powerpoint/2010/main" val="904691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Vs">
    <p:bg bwMode="gray">
      <p:bgPr>
        <a:gradFill>
          <a:gsLst>
            <a:gs pos="0">
              <a:schemeClr val="accent2"/>
            </a:gs>
            <a:gs pos="55000">
              <a:schemeClr val="accent4"/>
            </a:gs>
            <a:gs pos="100000">
              <a:schemeClr val="accent5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329FBA7-7DB3-2CA5-5A00-4DA9C3BF12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325" y="1062734"/>
            <a:ext cx="3375324" cy="5138042"/>
          </a:xfrm>
          <a:custGeom>
            <a:avLst/>
            <a:gdLst>
              <a:gd name="connsiteX0" fmla="*/ 230062 w 3375324"/>
              <a:gd name="connsiteY0" fmla="*/ 0 h 5138042"/>
              <a:gd name="connsiteX1" fmla="*/ 3145262 w 3375324"/>
              <a:gd name="connsiteY1" fmla="*/ 0 h 5138042"/>
              <a:gd name="connsiteX2" fmla="*/ 3375324 w 3375324"/>
              <a:gd name="connsiteY2" fmla="*/ 230062 h 5138042"/>
              <a:gd name="connsiteX3" fmla="*/ 3375324 w 3375324"/>
              <a:gd name="connsiteY3" fmla="*/ 4907980 h 5138042"/>
              <a:gd name="connsiteX4" fmla="*/ 3145262 w 3375324"/>
              <a:gd name="connsiteY4" fmla="*/ 5138042 h 5138042"/>
              <a:gd name="connsiteX5" fmla="*/ 230062 w 3375324"/>
              <a:gd name="connsiteY5" fmla="*/ 5138042 h 5138042"/>
              <a:gd name="connsiteX6" fmla="*/ 0 w 3375324"/>
              <a:gd name="connsiteY6" fmla="*/ 4907980 h 5138042"/>
              <a:gd name="connsiteX7" fmla="*/ 0 w 3375324"/>
              <a:gd name="connsiteY7" fmla="*/ 230062 h 5138042"/>
              <a:gd name="connsiteX8" fmla="*/ 230062 w 3375324"/>
              <a:gd name="connsiteY8" fmla="*/ 0 h 5138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75324" h="5138042">
                <a:moveTo>
                  <a:pt x="230062" y="0"/>
                </a:moveTo>
                <a:lnTo>
                  <a:pt x="3145262" y="0"/>
                </a:lnTo>
                <a:cubicBezTo>
                  <a:pt x="3272322" y="0"/>
                  <a:pt x="3375324" y="103002"/>
                  <a:pt x="3375324" y="230062"/>
                </a:cubicBezTo>
                <a:lnTo>
                  <a:pt x="3375324" y="4907980"/>
                </a:lnTo>
                <a:cubicBezTo>
                  <a:pt x="3375324" y="5035040"/>
                  <a:pt x="3272322" y="5138042"/>
                  <a:pt x="3145262" y="5138042"/>
                </a:cubicBezTo>
                <a:lnTo>
                  <a:pt x="230062" y="5138042"/>
                </a:lnTo>
                <a:cubicBezTo>
                  <a:pt x="103002" y="5138042"/>
                  <a:pt x="0" y="5035040"/>
                  <a:pt x="0" y="4907980"/>
                </a:cubicBezTo>
                <a:lnTo>
                  <a:pt x="0" y="230062"/>
                </a:lnTo>
                <a:cubicBezTo>
                  <a:pt x="0" y="103002"/>
                  <a:pt x="103002" y="0"/>
                  <a:pt x="23006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324000" tIns="360000" rIns="1188000"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AE3180-17EC-4AE9-A531-BB7A54E81D18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A7BCCEC7-7E65-C7B8-7520-DD2E67C3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9" name="Bildplatzhalter 10">
            <a:extLst>
              <a:ext uri="{FF2B5EF4-FFF2-40B4-BE49-F238E27FC236}">
                <a16:creationId xmlns:a16="http://schemas.microsoft.com/office/drawing/2014/main" id="{304B3F32-4787-6985-C3B0-5C94BE1E860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85013" y="1424028"/>
            <a:ext cx="828000" cy="828000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6A669641-AF14-FD16-98CD-7122D92CB7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3461" y="2004060"/>
            <a:ext cx="1798320" cy="255588"/>
          </a:xfrm>
        </p:spPr>
        <p:txBody>
          <a:bodyPr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DE4A787F-A44A-04FF-FB91-2CBBDB36B3DB}"/>
              </a:ext>
            </a:extLst>
          </p:cNvPr>
          <p:cNvSpPr>
            <a:spLocks noChangeAspect="1"/>
          </p:cNvSpPr>
          <p:nvPr userDrawn="1"/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tx1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0C3E656-F9D3-AE67-97F7-F6ACF483FA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3462" y="2558096"/>
            <a:ext cx="2739048" cy="3301683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E05A0C-0748-A358-EF8A-8E696FC042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08338" y="1062734"/>
            <a:ext cx="3375324" cy="5138042"/>
          </a:xfrm>
          <a:custGeom>
            <a:avLst/>
            <a:gdLst>
              <a:gd name="connsiteX0" fmla="*/ 230062 w 3375324"/>
              <a:gd name="connsiteY0" fmla="*/ 0 h 5138042"/>
              <a:gd name="connsiteX1" fmla="*/ 3145262 w 3375324"/>
              <a:gd name="connsiteY1" fmla="*/ 0 h 5138042"/>
              <a:gd name="connsiteX2" fmla="*/ 3375324 w 3375324"/>
              <a:gd name="connsiteY2" fmla="*/ 230062 h 5138042"/>
              <a:gd name="connsiteX3" fmla="*/ 3375324 w 3375324"/>
              <a:gd name="connsiteY3" fmla="*/ 4907980 h 5138042"/>
              <a:gd name="connsiteX4" fmla="*/ 3145262 w 3375324"/>
              <a:gd name="connsiteY4" fmla="*/ 5138042 h 5138042"/>
              <a:gd name="connsiteX5" fmla="*/ 230062 w 3375324"/>
              <a:gd name="connsiteY5" fmla="*/ 5138042 h 5138042"/>
              <a:gd name="connsiteX6" fmla="*/ 0 w 3375324"/>
              <a:gd name="connsiteY6" fmla="*/ 4907980 h 5138042"/>
              <a:gd name="connsiteX7" fmla="*/ 0 w 3375324"/>
              <a:gd name="connsiteY7" fmla="*/ 230062 h 5138042"/>
              <a:gd name="connsiteX8" fmla="*/ 230062 w 3375324"/>
              <a:gd name="connsiteY8" fmla="*/ 0 h 5138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75324" h="5138042">
                <a:moveTo>
                  <a:pt x="230062" y="0"/>
                </a:moveTo>
                <a:lnTo>
                  <a:pt x="3145262" y="0"/>
                </a:lnTo>
                <a:cubicBezTo>
                  <a:pt x="3272322" y="0"/>
                  <a:pt x="3375324" y="103002"/>
                  <a:pt x="3375324" y="230062"/>
                </a:cubicBezTo>
                <a:lnTo>
                  <a:pt x="3375324" y="4907980"/>
                </a:lnTo>
                <a:cubicBezTo>
                  <a:pt x="3375324" y="5035040"/>
                  <a:pt x="3272322" y="5138042"/>
                  <a:pt x="3145262" y="5138042"/>
                </a:cubicBezTo>
                <a:lnTo>
                  <a:pt x="230062" y="5138042"/>
                </a:lnTo>
                <a:cubicBezTo>
                  <a:pt x="103002" y="5138042"/>
                  <a:pt x="0" y="5035040"/>
                  <a:pt x="0" y="4907980"/>
                </a:cubicBezTo>
                <a:lnTo>
                  <a:pt x="0" y="230062"/>
                </a:lnTo>
                <a:cubicBezTo>
                  <a:pt x="0" y="103002"/>
                  <a:pt x="103002" y="0"/>
                  <a:pt x="23006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324000" tIns="360000" rIns="1188000"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9" name="Bildplatzhalter 10">
            <a:extLst>
              <a:ext uri="{FF2B5EF4-FFF2-40B4-BE49-F238E27FC236}">
                <a16:creationId xmlns:a16="http://schemas.microsoft.com/office/drawing/2014/main" id="{A68C9EB5-7F92-492C-47A5-D76EF07FF41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598026" y="1424028"/>
            <a:ext cx="828000" cy="828000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DBD53607-390A-0F2C-EEF3-BCAA9E344A9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26474" y="2004060"/>
            <a:ext cx="1798320" cy="255588"/>
          </a:xfrm>
        </p:spPr>
        <p:txBody>
          <a:bodyPr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33" name="Textplatzhalter 16">
            <a:extLst>
              <a:ext uri="{FF2B5EF4-FFF2-40B4-BE49-F238E27FC236}">
                <a16:creationId xmlns:a16="http://schemas.microsoft.com/office/drawing/2014/main" id="{4FE459C4-A224-1877-9002-33A52FBB23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26475" y="2558096"/>
            <a:ext cx="2739048" cy="3301683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3F5CAC34-FEBF-4989-19F7-A9D7358AF6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1351" y="1062734"/>
            <a:ext cx="3375324" cy="5138042"/>
          </a:xfrm>
          <a:custGeom>
            <a:avLst/>
            <a:gdLst>
              <a:gd name="connsiteX0" fmla="*/ 230062 w 3375324"/>
              <a:gd name="connsiteY0" fmla="*/ 0 h 5138042"/>
              <a:gd name="connsiteX1" fmla="*/ 3145262 w 3375324"/>
              <a:gd name="connsiteY1" fmla="*/ 0 h 5138042"/>
              <a:gd name="connsiteX2" fmla="*/ 3375324 w 3375324"/>
              <a:gd name="connsiteY2" fmla="*/ 230062 h 5138042"/>
              <a:gd name="connsiteX3" fmla="*/ 3375324 w 3375324"/>
              <a:gd name="connsiteY3" fmla="*/ 4907980 h 5138042"/>
              <a:gd name="connsiteX4" fmla="*/ 3145262 w 3375324"/>
              <a:gd name="connsiteY4" fmla="*/ 5138042 h 5138042"/>
              <a:gd name="connsiteX5" fmla="*/ 230062 w 3375324"/>
              <a:gd name="connsiteY5" fmla="*/ 5138042 h 5138042"/>
              <a:gd name="connsiteX6" fmla="*/ 0 w 3375324"/>
              <a:gd name="connsiteY6" fmla="*/ 4907980 h 5138042"/>
              <a:gd name="connsiteX7" fmla="*/ 0 w 3375324"/>
              <a:gd name="connsiteY7" fmla="*/ 230062 h 5138042"/>
              <a:gd name="connsiteX8" fmla="*/ 230062 w 3375324"/>
              <a:gd name="connsiteY8" fmla="*/ 0 h 5138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75324" h="5138042">
                <a:moveTo>
                  <a:pt x="230062" y="0"/>
                </a:moveTo>
                <a:lnTo>
                  <a:pt x="3145262" y="0"/>
                </a:lnTo>
                <a:cubicBezTo>
                  <a:pt x="3272322" y="0"/>
                  <a:pt x="3375324" y="103002"/>
                  <a:pt x="3375324" y="230062"/>
                </a:cubicBezTo>
                <a:lnTo>
                  <a:pt x="3375324" y="4907980"/>
                </a:lnTo>
                <a:cubicBezTo>
                  <a:pt x="3375324" y="5035040"/>
                  <a:pt x="3272322" y="5138042"/>
                  <a:pt x="3145262" y="5138042"/>
                </a:cubicBezTo>
                <a:lnTo>
                  <a:pt x="230062" y="5138042"/>
                </a:lnTo>
                <a:cubicBezTo>
                  <a:pt x="103002" y="5138042"/>
                  <a:pt x="0" y="5035040"/>
                  <a:pt x="0" y="4907980"/>
                </a:cubicBezTo>
                <a:lnTo>
                  <a:pt x="0" y="230062"/>
                </a:lnTo>
                <a:cubicBezTo>
                  <a:pt x="0" y="103002"/>
                  <a:pt x="103002" y="0"/>
                  <a:pt x="23006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324000" tIns="360000" rIns="1188000"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="1"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35" name="Bildplatzhalter 10">
            <a:extLst>
              <a:ext uri="{FF2B5EF4-FFF2-40B4-BE49-F238E27FC236}">
                <a16:creationId xmlns:a16="http://schemas.microsoft.com/office/drawing/2014/main" id="{AD0CF6D2-EC6C-E4BB-B161-B142A1941B3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311039" y="1424028"/>
            <a:ext cx="828000" cy="828000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3F23D62A-A653-908D-0A8E-912D7FBFAB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39487" y="2004060"/>
            <a:ext cx="1798320" cy="255588"/>
          </a:xfrm>
        </p:spPr>
        <p:txBody>
          <a:bodyPr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37" name="Textplatzhalter 16">
            <a:extLst>
              <a:ext uri="{FF2B5EF4-FFF2-40B4-BE49-F238E27FC236}">
                <a16:creationId xmlns:a16="http://schemas.microsoft.com/office/drawing/2014/main" id="{C2E23DF5-A193-E6C2-A961-9CE938B6D41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39488" y="2558096"/>
            <a:ext cx="2739048" cy="3301683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6186551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B02D26-61BA-2CE6-77AD-DB1074D153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1263938"/>
            <a:ext cx="10801350" cy="1049050"/>
          </a:xfrm>
        </p:spPr>
        <p:txBody>
          <a:bodyPr anchor="ctr"/>
          <a:lstStyle>
            <a:lvl1pPr algn="ctr">
              <a:defRPr sz="480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20B78C7-A996-35E2-E7BD-41D6DFB13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264190" y="2986434"/>
            <a:ext cx="1663619" cy="1463985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038CB3F-DAE2-E0EE-6B3A-42637E1862FE}"/>
              </a:ext>
            </a:extLst>
          </p:cNvPr>
          <p:cNvSpPr txBox="1"/>
          <p:nvPr userDrawn="1"/>
        </p:nvSpPr>
        <p:spPr>
          <a:xfrm>
            <a:off x="9913620" y="3576927"/>
            <a:ext cx="1882140" cy="262384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Aft>
                <a:spcPts val="1200"/>
              </a:spcAft>
            </a:pPr>
            <a:r>
              <a:rPr lang="de-DE" sz="1100" err="1">
                <a:solidFill>
                  <a:schemeClr val="tx1"/>
                </a:solidFill>
                <a:latin typeface="+mj-lt"/>
              </a:rPr>
              <a:t>metafinanz</a:t>
            </a:r>
            <a:r>
              <a:rPr lang="de-DE" sz="1100">
                <a:solidFill>
                  <a:schemeClr val="tx1"/>
                </a:solidFill>
                <a:latin typeface="+mj-lt"/>
              </a:rPr>
              <a:t> Informationssysteme </a:t>
            </a:r>
            <a:br>
              <a:rPr lang="de-DE" sz="1100">
                <a:solidFill>
                  <a:schemeClr val="tx1"/>
                </a:solidFill>
                <a:latin typeface="+mj-lt"/>
              </a:rPr>
            </a:br>
            <a:r>
              <a:rPr lang="de-DE" sz="1100">
                <a:solidFill>
                  <a:schemeClr val="tx1"/>
                </a:solidFill>
                <a:latin typeface="+mj-lt"/>
              </a:rPr>
              <a:t>GmbH</a:t>
            </a:r>
          </a:p>
          <a:p>
            <a:pPr>
              <a:spcAft>
                <a:spcPts val="1200"/>
              </a:spcAft>
            </a:pPr>
            <a:r>
              <a:rPr lang="de-DE" sz="1100">
                <a:solidFill>
                  <a:schemeClr val="tx1"/>
                </a:solidFill>
              </a:rPr>
              <a:t>Leopoldstraße 146</a:t>
            </a:r>
            <a:br>
              <a:rPr lang="de-DE" sz="1100">
                <a:solidFill>
                  <a:schemeClr val="tx1"/>
                </a:solidFill>
              </a:rPr>
            </a:br>
            <a:r>
              <a:rPr lang="de-DE" sz="1100">
                <a:solidFill>
                  <a:schemeClr val="tx1"/>
                </a:solidFill>
              </a:rPr>
              <a:t>80804 München</a:t>
            </a:r>
          </a:p>
          <a:p>
            <a:pPr>
              <a:spcAft>
                <a:spcPts val="1200"/>
              </a:spcAft>
            </a:pPr>
            <a:r>
              <a:rPr lang="de-DE" sz="1100">
                <a:solidFill>
                  <a:schemeClr val="tx1"/>
                </a:solidFill>
              </a:rPr>
              <a:t>Große Gallusstraße 16-18</a:t>
            </a:r>
            <a:br>
              <a:rPr lang="de-DE" sz="1100">
                <a:solidFill>
                  <a:schemeClr val="tx1"/>
                </a:solidFill>
              </a:rPr>
            </a:br>
            <a:r>
              <a:rPr lang="de-DE" sz="1100">
                <a:solidFill>
                  <a:schemeClr val="tx1"/>
                </a:solidFill>
              </a:rPr>
              <a:t>60312 Frankfurt</a:t>
            </a:r>
          </a:p>
          <a:p>
            <a:pPr>
              <a:spcAft>
                <a:spcPts val="1200"/>
              </a:spcAft>
            </a:pPr>
            <a:r>
              <a:rPr lang="de-DE" sz="1100">
                <a:solidFill>
                  <a:schemeClr val="tx1"/>
                </a:solidFill>
              </a:rPr>
              <a:t>Theodor-Heuss-Str. 30</a:t>
            </a:r>
            <a:br>
              <a:rPr lang="de-DE" sz="1100">
                <a:solidFill>
                  <a:schemeClr val="tx1"/>
                </a:solidFill>
              </a:rPr>
            </a:br>
            <a:r>
              <a:rPr lang="de-DE" sz="1100">
                <a:solidFill>
                  <a:schemeClr val="tx1"/>
                </a:solidFill>
              </a:rPr>
              <a:t>70174 Stuttga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1100">
                <a:solidFill>
                  <a:schemeClr val="tx1"/>
                </a:solidFill>
              </a:rPr>
              <a:t>Linzer Straße 225/3a</a:t>
            </a:r>
            <a:br>
              <a:rPr lang="de-DE" sz="1100">
                <a:solidFill>
                  <a:schemeClr val="tx1"/>
                </a:solidFill>
              </a:rPr>
            </a:br>
            <a:r>
              <a:rPr lang="de-DE" sz="1100">
                <a:solidFill>
                  <a:schemeClr val="tx1"/>
                </a:solidFill>
              </a:rPr>
              <a:t>1140 Wien</a:t>
            </a:r>
          </a:p>
        </p:txBody>
      </p:sp>
    </p:spTree>
    <p:extLst>
      <p:ext uri="{BB962C8B-B14F-4D97-AF65-F5344CB8AC3E}">
        <p14:creationId xmlns:p14="http://schemas.microsoft.com/office/powerpoint/2010/main" val="4273358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blau)">
    <p:bg bwMode="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B02D26-61BA-2CE6-77AD-DB1074D153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1263938"/>
            <a:ext cx="10801350" cy="1049050"/>
          </a:xfrm>
        </p:spPr>
        <p:txBody>
          <a:bodyPr anchor="ctr"/>
          <a:lstStyle>
            <a:lvl1pPr algn="ctr">
              <a:defRPr sz="48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038CB3F-DAE2-E0EE-6B3A-42637E1862FE}"/>
              </a:ext>
            </a:extLst>
          </p:cNvPr>
          <p:cNvSpPr txBox="1"/>
          <p:nvPr userDrawn="1"/>
        </p:nvSpPr>
        <p:spPr>
          <a:xfrm>
            <a:off x="9913620" y="3576927"/>
            <a:ext cx="1882140" cy="262384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Aft>
                <a:spcPts val="1200"/>
              </a:spcAft>
            </a:pPr>
            <a:r>
              <a:rPr lang="de-DE" sz="1100" err="1">
                <a:solidFill>
                  <a:schemeClr val="bg2"/>
                </a:solidFill>
                <a:latin typeface="+mj-lt"/>
              </a:rPr>
              <a:t>metafinanz</a:t>
            </a:r>
            <a:r>
              <a:rPr lang="de-DE" sz="1100">
                <a:solidFill>
                  <a:schemeClr val="bg2"/>
                </a:solidFill>
                <a:latin typeface="+mj-lt"/>
              </a:rPr>
              <a:t> Informationssysteme </a:t>
            </a:r>
            <a:br>
              <a:rPr lang="de-DE" sz="1100">
                <a:solidFill>
                  <a:schemeClr val="bg2"/>
                </a:solidFill>
                <a:latin typeface="+mj-lt"/>
              </a:rPr>
            </a:br>
            <a:r>
              <a:rPr lang="de-DE" sz="1100">
                <a:solidFill>
                  <a:schemeClr val="bg2"/>
                </a:solidFill>
                <a:latin typeface="+mj-lt"/>
              </a:rPr>
              <a:t>GmbH</a:t>
            </a:r>
          </a:p>
          <a:p>
            <a:pPr>
              <a:spcAft>
                <a:spcPts val="1200"/>
              </a:spcAft>
            </a:pPr>
            <a:r>
              <a:rPr lang="de-DE" sz="1100">
                <a:solidFill>
                  <a:schemeClr val="bg2"/>
                </a:solidFill>
              </a:rPr>
              <a:t>Leopoldstraße 146</a:t>
            </a:r>
            <a:br>
              <a:rPr lang="de-DE" sz="1100">
                <a:solidFill>
                  <a:schemeClr val="bg2"/>
                </a:solidFill>
              </a:rPr>
            </a:br>
            <a:r>
              <a:rPr lang="de-DE" sz="1100">
                <a:solidFill>
                  <a:schemeClr val="bg2"/>
                </a:solidFill>
              </a:rPr>
              <a:t>80804 München</a:t>
            </a:r>
          </a:p>
          <a:p>
            <a:pPr>
              <a:spcAft>
                <a:spcPts val="1200"/>
              </a:spcAft>
            </a:pPr>
            <a:r>
              <a:rPr lang="de-DE" sz="1100">
                <a:solidFill>
                  <a:schemeClr val="bg2"/>
                </a:solidFill>
              </a:rPr>
              <a:t>Große Gallusstraße 16-18</a:t>
            </a:r>
            <a:br>
              <a:rPr lang="de-DE" sz="1100">
                <a:solidFill>
                  <a:schemeClr val="bg2"/>
                </a:solidFill>
              </a:rPr>
            </a:br>
            <a:r>
              <a:rPr lang="de-DE" sz="1100">
                <a:solidFill>
                  <a:schemeClr val="bg2"/>
                </a:solidFill>
              </a:rPr>
              <a:t>60312 Frankfurt</a:t>
            </a:r>
          </a:p>
          <a:p>
            <a:pPr>
              <a:spcAft>
                <a:spcPts val="1200"/>
              </a:spcAft>
            </a:pPr>
            <a:r>
              <a:rPr lang="de-DE" sz="1100">
                <a:solidFill>
                  <a:schemeClr val="bg2"/>
                </a:solidFill>
              </a:rPr>
              <a:t>Theodor-Heuss-Str. 30</a:t>
            </a:r>
            <a:br>
              <a:rPr lang="de-DE" sz="1100">
                <a:solidFill>
                  <a:schemeClr val="bg2"/>
                </a:solidFill>
              </a:rPr>
            </a:br>
            <a:r>
              <a:rPr lang="de-DE" sz="1100">
                <a:solidFill>
                  <a:schemeClr val="bg2"/>
                </a:solidFill>
              </a:rPr>
              <a:t>70174 Stuttga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1100">
                <a:solidFill>
                  <a:schemeClr val="bg2"/>
                </a:solidFill>
              </a:rPr>
              <a:t>Linzer Straße 225/3a</a:t>
            </a:r>
            <a:br>
              <a:rPr lang="de-DE" sz="1100">
                <a:solidFill>
                  <a:schemeClr val="bg2"/>
                </a:solidFill>
              </a:rPr>
            </a:br>
            <a:r>
              <a:rPr lang="de-DE" sz="1100">
                <a:solidFill>
                  <a:schemeClr val="bg2"/>
                </a:solidFill>
              </a:rPr>
              <a:t>1140 Wi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F849CE0-3D32-C7C4-0AE9-FF79823848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64190" y="2986434"/>
            <a:ext cx="1663620" cy="1463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4822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3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3041A7B1-FE61-CA3F-1DC9-6CDBF81BC263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9DA47E3-7477-206C-A247-1F67FD0C66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00266" y="2275096"/>
            <a:ext cx="2622510" cy="230780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FD8A9E9-EC97-4F1F-0DB1-719D8FD9F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7520" y="1700213"/>
            <a:ext cx="4669154" cy="3457574"/>
          </a:xfrm>
        </p:spPr>
        <p:txBody>
          <a:bodyPr anchor="ctr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4A9F03C-878F-E0BA-7348-D17D627556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27520" y="692150"/>
            <a:ext cx="4669154" cy="335280"/>
          </a:xfrm>
        </p:spPr>
        <p:txBody>
          <a:bodyPr anchor="b"/>
          <a:lstStyle>
            <a:lvl1pPr marL="0" indent="0" algn="l">
              <a:buNone/>
              <a:defRPr sz="14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err="1"/>
              <a:t>Top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09341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71E0BA0C-182E-396A-DFBA-06E853B11D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A86C2C-B5D8-C78B-F285-B9980A78A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1930399"/>
            <a:ext cx="5040313" cy="4270375"/>
          </a:xfrm>
        </p:spPr>
        <p:txBody>
          <a:bodyPr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C243B3E-709A-EF88-BBF0-20ACC3A50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31DDC4D-A37E-4BCF-A27C-9C467CFF8B69}" type="datetime1">
              <a:rPr lang="de-DE" smtClean="0"/>
              <a:t>10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6BAD14-B5DD-DBA1-5528-A51908B2F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Zukunftsbild gestal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219A37-D084-7DD6-DA33-10DCBD8DD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5DD7498D-BD66-41E4-84B9-C21AC1B727A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4AECEA-F9F5-E15E-4F78-DC80EE9F58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6" y="1536700"/>
            <a:ext cx="5040312" cy="276380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4CAC1452-F229-D8C2-DDB1-F9451543BCF7}"/>
              </a:ext>
            </a:extLst>
          </p:cNvPr>
          <p:cNvSpPr>
            <a:spLocks noChangeAspect="1"/>
          </p:cNvSpPr>
          <p:nvPr userDrawn="1"/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bg2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4391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Vollbild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0">
            <a:extLst>
              <a:ext uri="{FF2B5EF4-FFF2-40B4-BE49-F238E27FC236}">
                <a16:creationId xmlns:a16="http://schemas.microsoft.com/office/drawing/2014/main" id="{6764AE72-4566-1A7F-28B4-B37059080FE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B02D26-61BA-2CE6-77AD-DB1074D153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2312988"/>
            <a:ext cx="10801350" cy="2232024"/>
          </a:xfrm>
        </p:spPr>
        <p:txBody>
          <a:bodyPr anchor="ctr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970240-BB84-A07F-178A-A3A32A63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2DA9C6B-8184-4F8E-9E95-3C1D3BEA5966}" type="datetime1">
              <a:rPr lang="de-DE" smtClean="0"/>
              <a:t>10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5ECB58-2E6F-DE7B-6904-5CBB91AA3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Zukunftsbild gestal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867525-3B92-3249-54F9-10A8F7EF9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5DD7498D-BD66-41E4-84B9-C21AC1B727A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5C7DBCB-286D-12CD-691D-C62D5BE512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427235 w 1044000"/>
              <a:gd name="connsiteY0" fmla="*/ 62171 h 123802"/>
              <a:gd name="connsiteX1" fmla="*/ 421785 w 1044000"/>
              <a:gd name="connsiteY1" fmla="*/ 62780 h 123802"/>
              <a:gd name="connsiteX2" fmla="*/ 416991 w 1044000"/>
              <a:gd name="connsiteY2" fmla="*/ 64538 h 123802"/>
              <a:gd name="connsiteX3" fmla="*/ 413025 w 1044000"/>
              <a:gd name="connsiteY3" fmla="*/ 67367 h 123802"/>
              <a:gd name="connsiteX4" fmla="*/ 409886 w 1044000"/>
              <a:gd name="connsiteY4" fmla="*/ 71188 h 123802"/>
              <a:gd name="connsiteX5" fmla="*/ 407903 w 1044000"/>
              <a:gd name="connsiteY5" fmla="*/ 75932 h 123802"/>
              <a:gd name="connsiteX6" fmla="*/ 407246 w 1044000"/>
              <a:gd name="connsiteY6" fmla="*/ 81441 h 123802"/>
              <a:gd name="connsiteX7" fmla="*/ 407903 w 1044000"/>
              <a:gd name="connsiteY7" fmla="*/ 87020 h 123802"/>
              <a:gd name="connsiteX8" fmla="*/ 409876 w 1044000"/>
              <a:gd name="connsiteY8" fmla="*/ 91676 h 123802"/>
              <a:gd name="connsiteX9" fmla="*/ 413015 w 1044000"/>
              <a:gd name="connsiteY9" fmla="*/ 95496 h 123802"/>
              <a:gd name="connsiteX10" fmla="*/ 416981 w 1044000"/>
              <a:gd name="connsiteY10" fmla="*/ 98403 h 123802"/>
              <a:gd name="connsiteX11" fmla="*/ 421774 w 1044000"/>
              <a:gd name="connsiteY11" fmla="*/ 100162 h 123802"/>
              <a:gd name="connsiteX12" fmla="*/ 427224 w 1044000"/>
              <a:gd name="connsiteY12" fmla="*/ 100702 h 123802"/>
              <a:gd name="connsiteX13" fmla="*/ 432601 w 1044000"/>
              <a:gd name="connsiteY13" fmla="*/ 100171 h 123802"/>
              <a:gd name="connsiteX14" fmla="*/ 437468 w 1044000"/>
              <a:gd name="connsiteY14" fmla="*/ 98413 h 123802"/>
              <a:gd name="connsiteX15" fmla="*/ 441519 w 1044000"/>
              <a:gd name="connsiteY15" fmla="*/ 95506 h 123802"/>
              <a:gd name="connsiteX16" fmla="*/ 444573 w 1044000"/>
              <a:gd name="connsiteY16" fmla="*/ 91685 h 123802"/>
              <a:gd name="connsiteX17" fmla="*/ 446471 w 1044000"/>
              <a:gd name="connsiteY17" fmla="*/ 87020 h 123802"/>
              <a:gd name="connsiteX18" fmla="*/ 447213 w 1044000"/>
              <a:gd name="connsiteY18" fmla="*/ 81441 h 123802"/>
              <a:gd name="connsiteX19" fmla="*/ 446471 w 1044000"/>
              <a:gd name="connsiteY19" fmla="*/ 75932 h 123802"/>
              <a:gd name="connsiteX20" fmla="*/ 444573 w 1044000"/>
              <a:gd name="connsiteY20" fmla="*/ 71188 h 123802"/>
              <a:gd name="connsiteX21" fmla="*/ 441519 w 1044000"/>
              <a:gd name="connsiteY21" fmla="*/ 67367 h 123802"/>
              <a:gd name="connsiteX22" fmla="*/ 437468 w 1044000"/>
              <a:gd name="connsiteY22" fmla="*/ 64538 h 123802"/>
              <a:gd name="connsiteX23" fmla="*/ 432601 w 1044000"/>
              <a:gd name="connsiteY23" fmla="*/ 62780 h 123802"/>
              <a:gd name="connsiteX24" fmla="*/ 427235 w 1044000"/>
              <a:gd name="connsiteY24" fmla="*/ 62171 h 123802"/>
              <a:gd name="connsiteX25" fmla="*/ 217133 w 1044000"/>
              <a:gd name="connsiteY25" fmla="*/ 56740 h 123802"/>
              <a:gd name="connsiteX26" fmla="*/ 212265 w 1044000"/>
              <a:gd name="connsiteY26" fmla="*/ 57202 h 123802"/>
              <a:gd name="connsiteX27" fmla="*/ 207886 w 1044000"/>
              <a:gd name="connsiteY27" fmla="*/ 58429 h 123802"/>
              <a:gd name="connsiteX28" fmla="*/ 204090 w 1044000"/>
              <a:gd name="connsiteY28" fmla="*/ 60413 h 123802"/>
              <a:gd name="connsiteX29" fmla="*/ 201120 w 1044000"/>
              <a:gd name="connsiteY29" fmla="*/ 63163 h 123802"/>
              <a:gd name="connsiteX30" fmla="*/ 198893 w 1044000"/>
              <a:gd name="connsiteY30" fmla="*/ 66679 h 123802"/>
              <a:gd name="connsiteX31" fmla="*/ 197738 w 1044000"/>
              <a:gd name="connsiteY31" fmla="*/ 70883 h 123802"/>
              <a:gd name="connsiteX32" fmla="*/ 197738 w 1044000"/>
              <a:gd name="connsiteY32" fmla="*/ 70893 h 123802"/>
              <a:gd name="connsiteX33" fmla="*/ 236369 w 1044000"/>
              <a:gd name="connsiteY33" fmla="*/ 70893 h 123802"/>
              <a:gd name="connsiteX34" fmla="*/ 234142 w 1044000"/>
              <a:gd name="connsiteY34" fmla="*/ 64853 h 123802"/>
              <a:gd name="connsiteX35" fmla="*/ 229932 w 1044000"/>
              <a:gd name="connsiteY35" fmla="*/ 60413 h 123802"/>
              <a:gd name="connsiteX36" fmla="*/ 224153 w 1044000"/>
              <a:gd name="connsiteY36" fmla="*/ 57732 h 123802"/>
              <a:gd name="connsiteX37" fmla="*/ 217133 w 1044000"/>
              <a:gd name="connsiteY37" fmla="*/ 56740 h 123802"/>
              <a:gd name="connsiteX38" fmla="*/ 792531 w 1044000"/>
              <a:gd name="connsiteY38" fmla="*/ 52909 h 123802"/>
              <a:gd name="connsiteX39" fmla="*/ 784726 w 1044000"/>
              <a:gd name="connsiteY39" fmla="*/ 53823 h 123802"/>
              <a:gd name="connsiteX40" fmla="*/ 777748 w 1044000"/>
              <a:gd name="connsiteY40" fmla="*/ 56465 h 123802"/>
              <a:gd name="connsiteX41" fmla="*/ 771842 w 1044000"/>
              <a:gd name="connsiteY41" fmla="*/ 60669 h 123802"/>
              <a:gd name="connsiteX42" fmla="*/ 767261 w 1044000"/>
              <a:gd name="connsiteY42" fmla="*/ 66326 h 123802"/>
              <a:gd name="connsiteX43" fmla="*/ 764334 w 1044000"/>
              <a:gd name="connsiteY43" fmla="*/ 73319 h 123802"/>
              <a:gd name="connsiteX44" fmla="*/ 763305 w 1044000"/>
              <a:gd name="connsiteY44" fmla="*/ 81579 h 123802"/>
              <a:gd name="connsiteX45" fmla="*/ 764334 w 1044000"/>
              <a:gd name="connsiteY45" fmla="*/ 89878 h 123802"/>
              <a:gd name="connsiteX46" fmla="*/ 767261 w 1044000"/>
              <a:gd name="connsiteY46" fmla="*/ 96920 h 123802"/>
              <a:gd name="connsiteX47" fmla="*/ 771842 w 1044000"/>
              <a:gd name="connsiteY47" fmla="*/ 102578 h 123802"/>
              <a:gd name="connsiteX48" fmla="*/ 777748 w 1044000"/>
              <a:gd name="connsiteY48" fmla="*/ 106781 h 123802"/>
              <a:gd name="connsiteX49" fmla="*/ 784726 w 1044000"/>
              <a:gd name="connsiteY49" fmla="*/ 109384 h 123802"/>
              <a:gd name="connsiteX50" fmla="*/ 792531 w 1044000"/>
              <a:gd name="connsiteY50" fmla="*/ 110268 h 123802"/>
              <a:gd name="connsiteX51" fmla="*/ 800335 w 1044000"/>
              <a:gd name="connsiteY51" fmla="*/ 109384 h 123802"/>
              <a:gd name="connsiteX52" fmla="*/ 807355 w 1044000"/>
              <a:gd name="connsiteY52" fmla="*/ 106781 h 123802"/>
              <a:gd name="connsiteX53" fmla="*/ 813304 w 1044000"/>
              <a:gd name="connsiteY53" fmla="*/ 102578 h 123802"/>
              <a:gd name="connsiteX54" fmla="*/ 817885 w 1044000"/>
              <a:gd name="connsiteY54" fmla="*/ 96920 h 123802"/>
              <a:gd name="connsiteX55" fmla="*/ 820823 w 1044000"/>
              <a:gd name="connsiteY55" fmla="*/ 89878 h 123802"/>
              <a:gd name="connsiteX56" fmla="*/ 821851 w 1044000"/>
              <a:gd name="connsiteY56" fmla="*/ 81579 h 123802"/>
              <a:gd name="connsiteX57" fmla="*/ 820823 w 1044000"/>
              <a:gd name="connsiteY57" fmla="*/ 73319 h 123802"/>
              <a:gd name="connsiteX58" fmla="*/ 817885 w 1044000"/>
              <a:gd name="connsiteY58" fmla="*/ 66326 h 123802"/>
              <a:gd name="connsiteX59" fmla="*/ 813304 w 1044000"/>
              <a:gd name="connsiteY59" fmla="*/ 60669 h 123802"/>
              <a:gd name="connsiteX60" fmla="*/ 807355 w 1044000"/>
              <a:gd name="connsiteY60" fmla="*/ 56465 h 123802"/>
              <a:gd name="connsiteX61" fmla="*/ 800378 w 1044000"/>
              <a:gd name="connsiteY61" fmla="*/ 53823 h 123802"/>
              <a:gd name="connsiteX62" fmla="*/ 792531 w 1044000"/>
              <a:gd name="connsiteY62" fmla="*/ 52909 h 123802"/>
              <a:gd name="connsiteX63" fmla="*/ 970597 w 1044000"/>
              <a:gd name="connsiteY63" fmla="*/ 41752 h 123802"/>
              <a:gd name="connsiteX64" fmla="*/ 1043173 w 1044000"/>
              <a:gd name="connsiteY64" fmla="*/ 41752 h 123802"/>
              <a:gd name="connsiteX65" fmla="*/ 1043173 w 1044000"/>
              <a:gd name="connsiteY65" fmla="*/ 54442 h 123802"/>
              <a:gd name="connsiteX66" fmla="*/ 986949 w 1044000"/>
              <a:gd name="connsiteY66" fmla="*/ 108274 h 123802"/>
              <a:gd name="connsiteX67" fmla="*/ 1044000 w 1044000"/>
              <a:gd name="connsiteY67" fmla="*/ 108274 h 123802"/>
              <a:gd name="connsiteX68" fmla="*/ 1044000 w 1044000"/>
              <a:gd name="connsiteY68" fmla="*/ 121425 h 123802"/>
              <a:gd name="connsiteX69" fmla="*/ 967713 w 1044000"/>
              <a:gd name="connsiteY69" fmla="*/ 121425 h 123802"/>
              <a:gd name="connsiteX70" fmla="*/ 967713 w 1044000"/>
              <a:gd name="connsiteY70" fmla="*/ 108736 h 123802"/>
              <a:gd name="connsiteX71" fmla="*/ 967702 w 1044000"/>
              <a:gd name="connsiteY71" fmla="*/ 108736 h 123802"/>
              <a:gd name="connsiteX72" fmla="*/ 1023767 w 1044000"/>
              <a:gd name="connsiteY72" fmla="*/ 54903 h 123802"/>
              <a:gd name="connsiteX73" fmla="*/ 970597 w 1044000"/>
              <a:gd name="connsiteY73" fmla="*/ 54903 h 123802"/>
              <a:gd name="connsiteX74" fmla="*/ 596415 w 1044000"/>
              <a:gd name="connsiteY74" fmla="*/ 41752 h 123802"/>
              <a:gd name="connsiteX75" fmla="*/ 612513 w 1044000"/>
              <a:gd name="connsiteY75" fmla="*/ 41752 h 123802"/>
              <a:gd name="connsiteX76" fmla="*/ 612513 w 1044000"/>
              <a:gd name="connsiteY76" fmla="*/ 121435 h 123802"/>
              <a:gd name="connsiteX77" fmla="*/ 596415 w 1044000"/>
              <a:gd name="connsiteY77" fmla="*/ 121435 h 123802"/>
              <a:gd name="connsiteX78" fmla="*/ 914967 w 1044000"/>
              <a:gd name="connsiteY78" fmla="*/ 39689 h 123802"/>
              <a:gd name="connsiteX79" fmla="*/ 927438 w 1044000"/>
              <a:gd name="connsiteY79" fmla="*/ 42017 h 123802"/>
              <a:gd name="connsiteX80" fmla="*/ 937056 w 1044000"/>
              <a:gd name="connsiteY80" fmla="*/ 48745 h 123802"/>
              <a:gd name="connsiteX81" fmla="*/ 943164 w 1044000"/>
              <a:gd name="connsiteY81" fmla="*/ 59490 h 123802"/>
              <a:gd name="connsiteX82" fmla="*/ 945274 w 1044000"/>
              <a:gd name="connsiteY82" fmla="*/ 73790 h 123802"/>
              <a:gd name="connsiteX83" fmla="*/ 945274 w 1044000"/>
              <a:gd name="connsiteY83" fmla="*/ 121435 h 123802"/>
              <a:gd name="connsiteX84" fmla="*/ 929092 w 1044000"/>
              <a:gd name="connsiteY84" fmla="*/ 121435 h 123802"/>
              <a:gd name="connsiteX85" fmla="*/ 929092 w 1044000"/>
              <a:gd name="connsiteY85" fmla="*/ 77228 h 123802"/>
              <a:gd name="connsiteX86" fmla="*/ 927608 w 1044000"/>
              <a:gd name="connsiteY86" fmla="*/ 66748 h 123802"/>
              <a:gd name="connsiteX87" fmla="*/ 923313 w 1044000"/>
              <a:gd name="connsiteY87" fmla="*/ 59058 h 123802"/>
              <a:gd name="connsiteX88" fmla="*/ 916378 w 1044000"/>
              <a:gd name="connsiteY88" fmla="*/ 54393 h 123802"/>
              <a:gd name="connsiteX89" fmla="*/ 906961 w 1044000"/>
              <a:gd name="connsiteY89" fmla="*/ 52821 h 123802"/>
              <a:gd name="connsiteX90" fmla="*/ 897545 w 1044000"/>
              <a:gd name="connsiteY90" fmla="*/ 54393 h 123802"/>
              <a:gd name="connsiteX91" fmla="*/ 890609 w 1044000"/>
              <a:gd name="connsiteY91" fmla="*/ 59058 h 123802"/>
              <a:gd name="connsiteX92" fmla="*/ 886315 w 1044000"/>
              <a:gd name="connsiteY92" fmla="*/ 66748 h 123802"/>
              <a:gd name="connsiteX93" fmla="*/ 884830 w 1044000"/>
              <a:gd name="connsiteY93" fmla="*/ 77228 h 123802"/>
              <a:gd name="connsiteX94" fmla="*/ 884830 w 1044000"/>
              <a:gd name="connsiteY94" fmla="*/ 121435 h 123802"/>
              <a:gd name="connsiteX95" fmla="*/ 868733 w 1044000"/>
              <a:gd name="connsiteY95" fmla="*/ 121435 h 123802"/>
              <a:gd name="connsiteX96" fmla="*/ 868733 w 1044000"/>
              <a:gd name="connsiteY96" fmla="*/ 41752 h 123802"/>
              <a:gd name="connsiteX97" fmla="*/ 884830 w 1044000"/>
              <a:gd name="connsiteY97" fmla="*/ 41752 h 123802"/>
              <a:gd name="connsiteX98" fmla="*/ 884830 w 1044000"/>
              <a:gd name="connsiteY98" fmla="*/ 60875 h 123802"/>
              <a:gd name="connsiteX99" fmla="*/ 889326 w 1044000"/>
              <a:gd name="connsiteY99" fmla="*/ 51426 h 123802"/>
              <a:gd name="connsiteX100" fmla="*/ 895890 w 1044000"/>
              <a:gd name="connsiteY100" fmla="*/ 44885 h 123802"/>
              <a:gd name="connsiteX101" fmla="*/ 904437 w 1044000"/>
              <a:gd name="connsiteY101" fmla="*/ 40986 h 123802"/>
              <a:gd name="connsiteX102" fmla="*/ 914967 w 1044000"/>
              <a:gd name="connsiteY102" fmla="*/ 39689 h 123802"/>
              <a:gd name="connsiteX103" fmla="*/ 690719 w 1044000"/>
              <a:gd name="connsiteY103" fmla="*/ 39689 h 123802"/>
              <a:gd name="connsiteX104" fmla="*/ 703190 w 1044000"/>
              <a:gd name="connsiteY104" fmla="*/ 42017 h 123802"/>
              <a:gd name="connsiteX105" fmla="*/ 712808 w 1044000"/>
              <a:gd name="connsiteY105" fmla="*/ 48745 h 123802"/>
              <a:gd name="connsiteX106" fmla="*/ 718916 w 1044000"/>
              <a:gd name="connsiteY106" fmla="*/ 59490 h 123802"/>
              <a:gd name="connsiteX107" fmla="*/ 721026 w 1044000"/>
              <a:gd name="connsiteY107" fmla="*/ 73790 h 123802"/>
              <a:gd name="connsiteX108" fmla="*/ 721026 w 1044000"/>
              <a:gd name="connsiteY108" fmla="*/ 121435 h 123802"/>
              <a:gd name="connsiteX109" fmla="*/ 704844 w 1044000"/>
              <a:gd name="connsiteY109" fmla="*/ 121435 h 123802"/>
              <a:gd name="connsiteX110" fmla="*/ 704844 w 1044000"/>
              <a:gd name="connsiteY110" fmla="*/ 77228 h 123802"/>
              <a:gd name="connsiteX111" fmla="*/ 703359 w 1044000"/>
              <a:gd name="connsiteY111" fmla="*/ 66748 h 123802"/>
              <a:gd name="connsiteX112" fmla="*/ 699065 w 1044000"/>
              <a:gd name="connsiteY112" fmla="*/ 59058 h 123802"/>
              <a:gd name="connsiteX113" fmla="*/ 692129 w 1044000"/>
              <a:gd name="connsiteY113" fmla="*/ 54393 h 123802"/>
              <a:gd name="connsiteX114" fmla="*/ 682713 w 1044000"/>
              <a:gd name="connsiteY114" fmla="*/ 52821 h 123802"/>
              <a:gd name="connsiteX115" fmla="*/ 673296 w 1044000"/>
              <a:gd name="connsiteY115" fmla="*/ 54393 h 123802"/>
              <a:gd name="connsiteX116" fmla="*/ 666361 w 1044000"/>
              <a:gd name="connsiteY116" fmla="*/ 59058 h 123802"/>
              <a:gd name="connsiteX117" fmla="*/ 662066 w 1044000"/>
              <a:gd name="connsiteY117" fmla="*/ 66748 h 123802"/>
              <a:gd name="connsiteX118" fmla="*/ 660582 w 1044000"/>
              <a:gd name="connsiteY118" fmla="*/ 77228 h 123802"/>
              <a:gd name="connsiteX119" fmla="*/ 660582 w 1044000"/>
              <a:gd name="connsiteY119" fmla="*/ 121435 h 123802"/>
              <a:gd name="connsiteX120" fmla="*/ 644485 w 1044000"/>
              <a:gd name="connsiteY120" fmla="*/ 121435 h 123802"/>
              <a:gd name="connsiteX121" fmla="*/ 644485 w 1044000"/>
              <a:gd name="connsiteY121" fmla="*/ 41752 h 123802"/>
              <a:gd name="connsiteX122" fmla="*/ 660582 w 1044000"/>
              <a:gd name="connsiteY122" fmla="*/ 41752 h 123802"/>
              <a:gd name="connsiteX123" fmla="*/ 660582 w 1044000"/>
              <a:gd name="connsiteY123" fmla="*/ 60875 h 123802"/>
              <a:gd name="connsiteX124" fmla="*/ 665078 w 1044000"/>
              <a:gd name="connsiteY124" fmla="*/ 51426 h 123802"/>
              <a:gd name="connsiteX125" fmla="*/ 671642 w 1044000"/>
              <a:gd name="connsiteY125" fmla="*/ 44885 h 123802"/>
              <a:gd name="connsiteX126" fmla="*/ 680189 w 1044000"/>
              <a:gd name="connsiteY126" fmla="*/ 40986 h 123802"/>
              <a:gd name="connsiteX127" fmla="*/ 690719 w 1044000"/>
              <a:gd name="connsiteY127" fmla="*/ 39689 h 123802"/>
              <a:gd name="connsiteX128" fmla="*/ 788321 w 1044000"/>
              <a:gd name="connsiteY128" fmla="*/ 39680 h 123802"/>
              <a:gd name="connsiteX129" fmla="*/ 796497 w 1044000"/>
              <a:gd name="connsiteY129" fmla="*/ 40554 h 123802"/>
              <a:gd name="connsiteX130" fmla="*/ 803559 w 1044000"/>
              <a:gd name="connsiteY130" fmla="*/ 43117 h 123802"/>
              <a:gd name="connsiteX131" fmla="*/ 809508 w 1044000"/>
              <a:gd name="connsiteY131" fmla="*/ 47134 h 123802"/>
              <a:gd name="connsiteX132" fmla="*/ 814375 w 1044000"/>
              <a:gd name="connsiteY132" fmla="*/ 52301 h 123802"/>
              <a:gd name="connsiteX133" fmla="*/ 818129 w 1044000"/>
              <a:gd name="connsiteY133" fmla="*/ 58341 h 123802"/>
              <a:gd name="connsiteX134" fmla="*/ 820695 w 1044000"/>
              <a:gd name="connsiteY134" fmla="*/ 64990 h 123802"/>
              <a:gd name="connsiteX135" fmla="*/ 820695 w 1044000"/>
              <a:gd name="connsiteY135" fmla="*/ 41752 h 123802"/>
              <a:gd name="connsiteX136" fmla="*/ 836878 w 1044000"/>
              <a:gd name="connsiteY136" fmla="*/ 41752 h 123802"/>
              <a:gd name="connsiteX137" fmla="*/ 836878 w 1044000"/>
              <a:gd name="connsiteY137" fmla="*/ 121435 h 123802"/>
              <a:gd name="connsiteX138" fmla="*/ 820695 w 1044000"/>
              <a:gd name="connsiteY138" fmla="*/ 121435 h 123802"/>
              <a:gd name="connsiteX139" fmla="*/ 820695 w 1044000"/>
              <a:gd name="connsiteY139" fmla="*/ 98266 h 123802"/>
              <a:gd name="connsiteX140" fmla="*/ 816358 w 1044000"/>
              <a:gd name="connsiteY140" fmla="*/ 107980 h 123802"/>
              <a:gd name="connsiteX141" fmla="*/ 809508 w 1044000"/>
              <a:gd name="connsiteY141" fmla="*/ 116053 h 123802"/>
              <a:gd name="connsiteX142" fmla="*/ 800176 w 1044000"/>
              <a:gd name="connsiteY142" fmla="*/ 121563 h 123802"/>
              <a:gd name="connsiteX143" fmla="*/ 788331 w 1044000"/>
              <a:gd name="connsiteY143" fmla="*/ 123586 h 123802"/>
              <a:gd name="connsiteX144" fmla="*/ 776762 w 1044000"/>
              <a:gd name="connsiteY144" fmla="*/ 122162 h 123802"/>
              <a:gd name="connsiteX145" fmla="*/ 766646 w 1044000"/>
              <a:gd name="connsiteY145" fmla="*/ 118066 h 123802"/>
              <a:gd name="connsiteX146" fmla="*/ 758183 w 1044000"/>
              <a:gd name="connsiteY146" fmla="*/ 111682 h 123802"/>
              <a:gd name="connsiteX147" fmla="*/ 751704 w 1044000"/>
              <a:gd name="connsiteY147" fmla="*/ 103314 h 123802"/>
              <a:gd name="connsiteX148" fmla="*/ 747622 w 1044000"/>
              <a:gd name="connsiteY148" fmla="*/ 93178 h 123802"/>
              <a:gd name="connsiteX149" fmla="*/ 746222 w 1044000"/>
              <a:gd name="connsiteY149" fmla="*/ 81599 h 123802"/>
              <a:gd name="connsiteX150" fmla="*/ 747622 w 1044000"/>
              <a:gd name="connsiteY150" fmla="*/ 70088 h 123802"/>
              <a:gd name="connsiteX151" fmla="*/ 751704 w 1044000"/>
              <a:gd name="connsiteY151" fmla="*/ 59952 h 123802"/>
              <a:gd name="connsiteX152" fmla="*/ 758183 w 1044000"/>
              <a:gd name="connsiteY152" fmla="*/ 51535 h 123802"/>
              <a:gd name="connsiteX153" fmla="*/ 766646 w 1044000"/>
              <a:gd name="connsiteY153" fmla="*/ 45111 h 123802"/>
              <a:gd name="connsiteX154" fmla="*/ 776762 w 1044000"/>
              <a:gd name="connsiteY154" fmla="*/ 41055 h 123802"/>
              <a:gd name="connsiteX155" fmla="*/ 788321 w 1044000"/>
              <a:gd name="connsiteY155" fmla="*/ 39680 h 123802"/>
              <a:gd name="connsiteX156" fmla="*/ 417384 w 1044000"/>
              <a:gd name="connsiteY156" fmla="*/ 39061 h 123802"/>
              <a:gd name="connsiteX157" fmla="*/ 424075 w 1044000"/>
              <a:gd name="connsiteY157" fmla="*/ 39749 h 123802"/>
              <a:gd name="connsiteX158" fmla="*/ 429854 w 1044000"/>
              <a:gd name="connsiteY158" fmla="*/ 41585 h 123802"/>
              <a:gd name="connsiteX159" fmla="*/ 434806 w 1044000"/>
              <a:gd name="connsiteY159" fmla="*/ 44492 h 123802"/>
              <a:gd name="connsiteX160" fmla="*/ 439016 w 1044000"/>
              <a:gd name="connsiteY160" fmla="*/ 48166 h 123802"/>
              <a:gd name="connsiteX161" fmla="*/ 442569 w 1044000"/>
              <a:gd name="connsiteY161" fmla="*/ 52448 h 123802"/>
              <a:gd name="connsiteX162" fmla="*/ 445379 w 1044000"/>
              <a:gd name="connsiteY162" fmla="*/ 57192 h 123802"/>
              <a:gd name="connsiteX163" fmla="*/ 445379 w 1044000"/>
              <a:gd name="connsiteY163" fmla="*/ 41595 h 123802"/>
              <a:gd name="connsiteX164" fmla="*/ 474530 w 1044000"/>
              <a:gd name="connsiteY164" fmla="*/ 41595 h 123802"/>
              <a:gd name="connsiteX165" fmla="*/ 474530 w 1044000"/>
              <a:gd name="connsiteY165" fmla="*/ 121268 h 123802"/>
              <a:gd name="connsiteX166" fmla="*/ 445379 w 1044000"/>
              <a:gd name="connsiteY166" fmla="*/ 121268 h 123802"/>
              <a:gd name="connsiteX167" fmla="*/ 445379 w 1044000"/>
              <a:gd name="connsiteY167" fmla="*/ 105671 h 123802"/>
              <a:gd name="connsiteX168" fmla="*/ 440840 w 1044000"/>
              <a:gd name="connsiteY168" fmla="*/ 112635 h 123802"/>
              <a:gd name="connsiteX169" fmla="*/ 434817 w 1044000"/>
              <a:gd name="connsiteY169" fmla="*/ 118449 h 123802"/>
              <a:gd name="connsiteX170" fmla="*/ 427055 w 1044000"/>
              <a:gd name="connsiteY170" fmla="*/ 122349 h 123802"/>
              <a:gd name="connsiteX171" fmla="*/ 417394 w 1044000"/>
              <a:gd name="connsiteY171" fmla="*/ 123802 h 123802"/>
              <a:gd name="connsiteX172" fmla="*/ 406482 w 1044000"/>
              <a:gd name="connsiteY172" fmla="*/ 122319 h 123802"/>
              <a:gd name="connsiteX173" fmla="*/ 396822 w 1044000"/>
              <a:gd name="connsiteY173" fmla="*/ 118194 h 123802"/>
              <a:gd name="connsiteX174" fmla="*/ 388731 w 1044000"/>
              <a:gd name="connsiteY174" fmla="*/ 111771 h 123802"/>
              <a:gd name="connsiteX175" fmla="*/ 382538 w 1044000"/>
              <a:gd name="connsiteY175" fmla="*/ 103363 h 123802"/>
              <a:gd name="connsiteX176" fmla="*/ 378572 w 1044000"/>
              <a:gd name="connsiteY176" fmla="*/ 93119 h 123802"/>
              <a:gd name="connsiteX177" fmla="*/ 377172 w 1044000"/>
              <a:gd name="connsiteY177" fmla="*/ 81422 h 123802"/>
              <a:gd name="connsiteX178" fmla="*/ 378572 w 1044000"/>
              <a:gd name="connsiteY178" fmla="*/ 69793 h 123802"/>
              <a:gd name="connsiteX179" fmla="*/ 382538 w 1044000"/>
              <a:gd name="connsiteY179" fmla="*/ 59549 h 123802"/>
              <a:gd name="connsiteX180" fmla="*/ 388731 w 1044000"/>
              <a:gd name="connsiteY180" fmla="*/ 51063 h 123802"/>
              <a:gd name="connsiteX181" fmla="*/ 396822 w 1044000"/>
              <a:gd name="connsiteY181" fmla="*/ 44640 h 123802"/>
              <a:gd name="connsiteX182" fmla="*/ 406482 w 1044000"/>
              <a:gd name="connsiteY182" fmla="*/ 40515 h 123802"/>
              <a:gd name="connsiteX183" fmla="*/ 417384 w 1044000"/>
              <a:gd name="connsiteY183" fmla="*/ 39061 h 123802"/>
              <a:gd name="connsiteX184" fmla="*/ 114049 w 1044000"/>
              <a:gd name="connsiteY184" fmla="*/ 39061 h 123802"/>
              <a:gd name="connsiteX185" fmla="*/ 126604 w 1044000"/>
              <a:gd name="connsiteY185" fmla="*/ 41281 h 123802"/>
              <a:gd name="connsiteX186" fmla="*/ 135766 w 1044000"/>
              <a:gd name="connsiteY186" fmla="*/ 47625 h 123802"/>
              <a:gd name="connsiteX187" fmla="*/ 141461 w 1044000"/>
              <a:gd name="connsiteY187" fmla="*/ 57722 h 123802"/>
              <a:gd name="connsiteX188" fmla="*/ 143444 w 1044000"/>
              <a:gd name="connsiteY188" fmla="*/ 71335 h 123802"/>
              <a:gd name="connsiteX189" fmla="*/ 143444 w 1044000"/>
              <a:gd name="connsiteY189" fmla="*/ 121268 h 123802"/>
              <a:gd name="connsiteX190" fmla="*/ 114293 w 1044000"/>
              <a:gd name="connsiteY190" fmla="*/ 121268 h 123802"/>
              <a:gd name="connsiteX191" fmla="*/ 114293 w 1044000"/>
              <a:gd name="connsiteY191" fmla="*/ 78672 h 123802"/>
              <a:gd name="connsiteX192" fmla="*/ 113466 w 1044000"/>
              <a:gd name="connsiteY192" fmla="*/ 71335 h 123802"/>
              <a:gd name="connsiteX193" fmla="*/ 110984 w 1044000"/>
              <a:gd name="connsiteY193" fmla="*/ 66139 h 123802"/>
              <a:gd name="connsiteX194" fmla="*/ 106605 w 1044000"/>
              <a:gd name="connsiteY194" fmla="*/ 62928 h 123802"/>
              <a:gd name="connsiteX195" fmla="*/ 100327 w 1044000"/>
              <a:gd name="connsiteY195" fmla="*/ 61857 h 123802"/>
              <a:gd name="connsiteX196" fmla="*/ 94049 w 1044000"/>
              <a:gd name="connsiteY196" fmla="*/ 62928 h 123802"/>
              <a:gd name="connsiteX197" fmla="*/ 89670 w 1044000"/>
              <a:gd name="connsiteY197" fmla="*/ 66139 h 123802"/>
              <a:gd name="connsiteX198" fmla="*/ 87199 w 1044000"/>
              <a:gd name="connsiteY198" fmla="*/ 71345 h 123802"/>
              <a:gd name="connsiteX199" fmla="*/ 86372 w 1044000"/>
              <a:gd name="connsiteY199" fmla="*/ 78682 h 123802"/>
              <a:gd name="connsiteX200" fmla="*/ 86372 w 1044000"/>
              <a:gd name="connsiteY200" fmla="*/ 121268 h 123802"/>
              <a:gd name="connsiteX201" fmla="*/ 57136 w 1044000"/>
              <a:gd name="connsiteY201" fmla="*/ 121268 h 123802"/>
              <a:gd name="connsiteX202" fmla="*/ 57136 w 1044000"/>
              <a:gd name="connsiteY202" fmla="*/ 78672 h 123802"/>
              <a:gd name="connsiteX203" fmla="*/ 56309 w 1044000"/>
              <a:gd name="connsiteY203" fmla="*/ 71335 h 123802"/>
              <a:gd name="connsiteX204" fmla="*/ 53838 w 1044000"/>
              <a:gd name="connsiteY204" fmla="*/ 66139 h 123802"/>
              <a:gd name="connsiteX205" fmla="*/ 49543 w 1044000"/>
              <a:gd name="connsiteY205" fmla="*/ 62928 h 123802"/>
              <a:gd name="connsiteX206" fmla="*/ 43181 w 1044000"/>
              <a:gd name="connsiteY206" fmla="*/ 61857 h 123802"/>
              <a:gd name="connsiteX207" fmla="*/ 36913 w 1044000"/>
              <a:gd name="connsiteY207" fmla="*/ 62928 h 123802"/>
              <a:gd name="connsiteX208" fmla="*/ 32534 w 1044000"/>
              <a:gd name="connsiteY208" fmla="*/ 66139 h 123802"/>
              <a:gd name="connsiteX209" fmla="*/ 30053 w 1044000"/>
              <a:gd name="connsiteY209" fmla="*/ 71345 h 123802"/>
              <a:gd name="connsiteX210" fmla="*/ 29225 w 1044000"/>
              <a:gd name="connsiteY210" fmla="*/ 78682 h 123802"/>
              <a:gd name="connsiteX211" fmla="*/ 29225 w 1044000"/>
              <a:gd name="connsiteY211" fmla="*/ 121278 h 123802"/>
              <a:gd name="connsiteX212" fmla="*/ 0 w 1044000"/>
              <a:gd name="connsiteY212" fmla="*/ 121278 h 123802"/>
              <a:gd name="connsiteX213" fmla="*/ 0 w 1044000"/>
              <a:gd name="connsiteY213" fmla="*/ 41595 h 123802"/>
              <a:gd name="connsiteX214" fmla="*/ 29236 w 1044000"/>
              <a:gd name="connsiteY214" fmla="*/ 41595 h 123802"/>
              <a:gd name="connsiteX215" fmla="*/ 29236 w 1044000"/>
              <a:gd name="connsiteY215" fmla="*/ 56504 h 123802"/>
              <a:gd name="connsiteX216" fmla="*/ 33605 w 1044000"/>
              <a:gd name="connsiteY216" fmla="*/ 49315 h 123802"/>
              <a:gd name="connsiteX217" fmla="*/ 39639 w 1044000"/>
              <a:gd name="connsiteY217" fmla="*/ 43805 h 123802"/>
              <a:gd name="connsiteX218" fmla="*/ 47316 w 1044000"/>
              <a:gd name="connsiteY218" fmla="*/ 40299 h 123802"/>
              <a:gd name="connsiteX219" fmla="*/ 56892 w 1044000"/>
              <a:gd name="connsiteY219" fmla="*/ 39071 h 123802"/>
              <a:gd name="connsiteX220" fmla="*/ 66552 w 1044000"/>
              <a:gd name="connsiteY220" fmla="*/ 40367 h 123802"/>
              <a:gd name="connsiteX221" fmla="*/ 74474 w 1044000"/>
              <a:gd name="connsiteY221" fmla="*/ 44188 h 123802"/>
              <a:gd name="connsiteX222" fmla="*/ 80349 w 1044000"/>
              <a:gd name="connsiteY222" fmla="*/ 50228 h 123802"/>
              <a:gd name="connsiteX223" fmla="*/ 84060 w 1044000"/>
              <a:gd name="connsiteY223" fmla="*/ 58488 h 123802"/>
              <a:gd name="connsiteX224" fmla="*/ 89171 w 1044000"/>
              <a:gd name="connsiteY224" fmla="*/ 50159 h 123802"/>
              <a:gd name="connsiteX225" fmla="*/ 96032 w 1044000"/>
              <a:gd name="connsiteY225" fmla="*/ 44041 h 123802"/>
              <a:gd name="connsiteX226" fmla="*/ 104388 w 1044000"/>
              <a:gd name="connsiteY226" fmla="*/ 40357 h 123802"/>
              <a:gd name="connsiteX227" fmla="*/ 114049 w 1044000"/>
              <a:gd name="connsiteY227" fmla="*/ 39061 h 123802"/>
              <a:gd name="connsiteX228" fmla="*/ 217387 w 1044000"/>
              <a:gd name="connsiteY228" fmla="*/ 38619 h 123802"/>
              <a:gd name="connsiteX229" fmla="*/ 231343 w 1044000"/>
              <a:gd name="connsiteY229" fmla="*/ 40230 h 123802"/>
              <a:gd name="connsiteX230" fmla="*/ 243145 w 1044000"/>
              <a:gd name="connsiteY230" fmla="*/ 44738 h 123802"/>
              <a:gd name="connsiteX231" fmla="*/ 252562 w 1044000"/>
              <a:gd name="connsiteY231" fmla="*/ 51927 h 123802"/>
              <a:gd name="connsiteX232" fmla="*/ 259168 w 1044000"/>
              <a:gd name="connsiteY232" fmla="*/ 61788 h 123802"/>
              <a:gd name="connsiteX233" fmla="*/ 262805 w 1044000"/>
              <a:gd name="connsiteY233" fmla="*/ 74026 h 123802"/>
              <a:gd name="connsiteX234" fmla="*/ 263219 w 1044000"/>
              <a:gd name="connsiteY234" fmla="*/ 88552 h 123802"/>
              <a:gd name="connsiteX235" fmla="*/ 199063 w 1044000"/>
              <a:gd name="connsiteY235" fmla="*/ 88552 h 123802"/>
              <a:gd name="connsiteX236" fmla="*/ 200633 w 1044000"/>
              <a:gd name="connsiteY236" fmla="*/ 92756 h 123802"/>
              <a:gd name="connsiteX237" fmla="*/ 203273 w 1044000"/>
              <a:gd name="connsiteY237" fmla="*/ 96351 h 123802"/>
              <a:gd name="connsiteX238" fmla="*/ 206910 w 1044000"/>
              <a:gd name="connsiteY238" fmla="*/ 99258 h 123802"/>
              <a:gd name="connsiteX239" fmla="*/ 211364 w 1044000"/>
              <a:gd name="connsiteY239" fmla="*/ 101478 h 123802"/>
              <a:gd name="connsiteX240" fmla="*/ 216486 w 1044000"/>
              <a:gd name="connsiteY240" fmla="*/ 102774 h 123802"/>
              <a:gd name="connsiteX241" fmla="*/ 222265 w 1044000"/>
              <a:gd name="connsiteY241" fmla="*/ 103236 h 123802"/>
              <a:gd name="connsiteX242" fmla="*/ 229031 w 1044000"/>
              <a:gd name="connsiteY242" fmla="*/ 102695 h 123802"/>
              <a:gd name="connsiteX243" fmla="*/ 235637 w 1044000"/>
              <a:gd name="connsiteY243" fmla="*/ 100859 h 123802"/>
              <a:gd name="connsiteX244" fmla="*/ 242074 w 1044000"/>
              <a:gd name="connsiteY244" fmla="*/ 97569 h 123802"/>
              <a:gd name="connsiteX245" fmla="*/ 248023 w 1044000"/>
              <a:gd name="connsiteY245" fmla="*/ 92825 h 123802"/>
              <a:gd name="connsiteX246" fmla="*/ 261650 w 1044000"/>
              <a:gd name="connsiteY246" fmla="*/ 108805 h 123802"/>
              <a:gd name="connsiteX247" fmla="*/ 252572 w 1044000"/>
              <a:gd name="connsiteY247" fmla="*/ 115611 h 123802"/>
              <a:gd name="connsiteX248" fmla="*/ 242583 w 1044000"/>
              <a:gd name="connsiteY248" fmla="*/ 120276 h 123802"/>
              <a:gd name="connsiteX249" fmla="*/ 231682 w 1044000"/>
              <a:gd name="connsiteY249" fmla="*/ 122958 h 123802"/>
              <a:gd name="connsiteX250" fmla="*/ 219954 w 1044000"/>
              <a:gd name="connsiteY250" fmla="*/ 123802 h 123802"/>
              <a:gd name="connsiteX251" fmla="*/ 205659 w 1044000"/>
              <a:gd name="connsiteY251" fmla="*/ 122270 h 123802"/>
              <a:gd name="connsiteX252" fmla="*/ 193443 w 1044000"/>
              <a:gd name="connsiteY252" fmla="*/ 118145 h 123802"/>
              <a:gd name="connsiteX253" fmla="*/ 183539 w 1044000"/>
              <a:gd name="connsiteY253" fmla="*/ 111643 h 123802"/>
              <a:gd name="connsiteX254" fmla="*/ 176105 w 1044000"/>
              <a:gd name="connsiteY254" fmla="*/ 103079 h 123802"/>
              <a:gd name="connsiteX255" fmla="*/ 171566 w 1044000"/>
              <a:gd name="connsiteY255" fmla="*/ 92835 h 123802"/>
              <a:gd name="connsiteX256" fmla="*/ 169997 w 1044000"/>
              <a:gd name="connsiteY256" fmla="*/ 81363 h 123802"/>
              <a:gd name="connsiteX257" fmla="*/ 171482 w 1044000"/>
              <a:gd name="connsiteY257" fmla="*/ 69813 h 123802"/>
              <a:gd name="connsiteX258" fmla="*/ 175935 w 1044000"/>
              <a:gd name="connsiteY258" fmla="*/ 59569 h 123802"/>
              <a:gd name="connsiteX259" fmla="*/ 182955 w 1044000"/>
              <a:gd name="connsiteY259" fmla="*/ 51004 h 123802"/>
              <a:gd name="connsiteX260" fmla="*/ 192372 w 1044000"/>
              <a:gd name="connsiteY260" fmla="*/ 44355 h 123802"/>
              <a:gd name="connsiteX261" fmla="*/ 203931 w 1044000"/>
              <a:gd name="connsiteY261" fmla="*/ 40151 h 123802"/>
              <a:gd name="connsiteX262" fmla="*/ 217387 w 1044000"/>
              <a:gd name="connsiteY262" fmla="*/ 38619 h 123802"/>
              <a:gd name="connsiteX263" fmla="*/ 299836 w 1044000"/>
              <a:gd name="connsiteY263" fmla="*/ 15666 h 123802"/>
              <a:gd name="connsiteX264" fmla="*/ 328997 w 1044000"/>
              <a:gd name="connsiteY264" fmla="*/ 15666 h 123802"/>
              <a:gd name="connsiteX265" fmla="*/ 328997 w 1044000"/>
              <a:gd name="connsiteY265" fmla="*/ 41595 h 123802"/>
              <a:gd name="connsiteX266" fmla="*/ 354840 w 1044000"/>
              <a:gd name="connsiteY266" fmla="*/ 41595 h 123802"/>
              <a:gd name="connsiteX267" fmla="*/ 354840 w 1044000"/>
              <a:gd name="connsiteY267" fmla="*/ 64538 h 123802"/>
              <a:gd name="connsiteX268" fmla="*/ 328997 w 1044000"/>
              <a:gd name="connsiteY268" fmla="*/ 64538 h 123802"/>
              <a:gd name="connsiteX269" fmla="*/ 328997 w 1044000"/>
              <a:gd name="connsiteY269" fmla="*/ 86706 h 123802"/>
              <a:gd name="connsiteX270" fmla="*/ 329983 w 1044000"/>
              <a:gd name="connsiteY270" fmla="*/ 93051 h 123802"/>
              <a:gd name="connsiteX271" fmla="*/ 332953 w 1044000"/>
              <a:gd name="connsiteY271" fmla="*/ 97107 h 123802"/>
              <a:gd name="connsiteX272" fmla="*/ 337661 w 1044000"/>
              <a:gd name="connsiteY272" fmla="*/ 99327 h 123802"/>
              <a:gd name="connsiteX273" fmla="*/ 344098 w 1044000"/>
              <a:gd name="connsiteY273" fmla="*/ 99936 h 123802"/>
              <a:gd name="connsiteX274" fmla="*/ 347067 w 1044000"/>
              <a:gd name="connsiteY274" fmla="*/ 99857 h 123802"/>
              <a:gd name="connsiteX275" fmla="*/ 349877 w 1044000"/>
              <a:gd name="connsiteY275" fmla="*/ 99631 h 123802"/>
              <a:gd name="connsiteX276" fmla="*/ 352518 w 1044000"/>
              <a:gd name="connsiteY276" fmla="*/ 99327 h 123802"/>
              <a:gd name="connsiteX277" fmla="*/ 354744 w 1044000"/>
              <a:gd name="connsiteY277" fmla="*/ 98865 h 123802"/>
              <a:gd name="connsiteX278" fmla="*/ 354744 w 1044000"/>
              <a:gd name="connsiteY278" fmla="*/ 120433 h 123802"/>
              <a:gd name="connsiteX279" fmla="*/ 349792 w 1044000"/>
              <a:gd name="connsiteY279" fmla="*/ 121347 h 123802"/>
              <a:gd name="connsiteX280" fmla="*/ 344999 w 1044000"/>
              <a:gd name="connsiteY280" fmla="*/ 122034 h 123802"/>
              <a:gd name="connsiteX281" fmla="*/ 340291 w 1044000"/>
              <a:gd name="connsiteY281" fmla="*/ 122496 h 123802"/>
              <a:gd name="connsiteX282" fmla="*/ 335667 w 1044000"/>
              <a:gd name="connsiteY282" fmla="*/ 122653 h 123802"/>
              <a:gd name="connsiteX283" fmla="*/ 321224 w 1044000"/>
              <a:gd name="connsiteY283" fmla="*/ 121042 h 123802"/>
              <a:gd name="connsiteX284" fmla="*/ 309910 w 1044000"/>
              <a:gd name="connsiteY284" fmla="*/ 115847 h 123802"/>
              <a:gd name="connsiteX285" fmla="*/ 302476 w 1044000"/>
              <a:gd name="connsiteY285" fmla="*/ 106290 h 123802"/>
              <a:gd name="connsiteX286" fmla="*/ 299836 w 1044000"/>
              <a:gd name="connsiteY286" fmla="*/ 91685 h 123802"/>
              <a:gd name="connsiteX287" fmla="*/ 299836 w 1044000"/>
              <a:gd name="connsiteY287" fmla="*/ 64538 h 123802"/>
              <a:gd name="connsiteX288" fmla="*/ 282498 w 1044000"/>
              <a:gd name="connsiteY288" fmla="*/ 64538 h 123802"/>
              <a:gd name="connsiteX289" fmla="*/ 282498 w 1044000"/>
              <a:gd name="connsiteY289" fmla="*/ 41595 h 123802"/>
              <a:gd name="connsiteX290" fmla="*/ 299836 w 1044000"/>
              <a:gd name="connsiteY290" fmla="*/ 41595 h 123802"/>
              <a:gd name="connsiteX291" fmla="*/ 604506 w 1044000"/>
              <a:gd name="connsiteY291" fmla="*/ 3821 h 123802"/>
              <a:gd name="connsiteX292" fmla="*/ 608886 w 1044000"/>
              <a:gd name="connsiteY292" fmla="*/ 4548 h 123802"/>
              <a:gd name="connsiteX293" fmla="*/ 612311 w 1044000"/>
              <a:gd name="connsiteY293" fmla="*/ 6571 h 123802"/>
              <a:gd name="connsiteX294" fmla="*/ 614581 w 1044000"/>
              <a:gd name="connsiteY294" fmla="*/ 9704 h 123802"/>
              <a:gd name="connsiteX295" fmla="*/ 615408 w 1044000"/>
              <a:gd name="connsiteY295" fmla="*/ 13839 h 123802"/>
              <a:gd name="connsiteX296" fmla="*/ 614581 w 1044000"/>
              <a:gd name="connsiteY296" fmla="*/ 17856 h 123802"/>
              <a:gd name="connsiteX297" fmla="*/ 612311 w 1044000"/>
              <a:gd name="connsiteY297" fmla="*/ 20989 h 123802"/>
              <a:gd name="connsiteX298" fmla="*/ 608886 w 1044000"/>
              <a:gd name="connsiteY298" fmla="*/ 23012 h 123802"/>
              <a:gd name="connsiteX299" fmla="*/ 604506 w 1044000"/>
              <a:gd name="connsiteY299" fmla="*/ 23700 h 123802"/>
              <a:gd name="connsiteX300" fmla="*/ 600085 w 1044000"/>
              <a:gd name="connsiteY300" fmla="*/ 23012 h 123802"/>
              <a:gd name="connsiteX301" fmla="*/ 596617 w 1044000"/>
              <a:gd name="connsiteY301" fmla="*/ 20989 h 123802"/>
              <a:gd name="connsiteX302" fmla="*/ 594347 w 1044000"/>
              <a:gd name="connsiteY302" fmla="*/ 17856 h 123802"/>
              <a:gd name="connsiteX303" fmla="*/ 593520 w 1044000"/>
              <a:gd name="connsiteY303" fmla="*/ 13839 h 123802"/>
              <a:gd name="connsiteX304" fmla="*/ 594347 w 1044000"/>
              <a:gd name="connsiteY304" fmla="*/ 9704 h 123802"/>
              <a:gd name="connsiteX305" fmla="*/ 596617 w 1044000"/>
              <a:gd name="connsiteY305" fmla="*/ 6571 h 123802"/>
              <a:gd name="connsiteX306" fmla="*/ 600085 w 1044000"/>
              <a:gd name="connsiteY306" fmla="*/ 4548 h 123802"/>
              <a:gd name="connsiteX307" fmla="*/ 604506 w 1044000"/>
              <a:gd name="connsiteY307" fmla="*/ 3821 h 123802"/>
              <a:gd name="connsiteX308" fmla="*/ 561284 w 1044000"/>
              <a:gd name="connsiteY308" fmla="*/ 0 h 123802"/>
              <a:gd name="connsiteX309" fmla="*/ 567561 w 1044000"/>
              <a:gd name="connsiteY309" fmla="*/ 226 h 123802"/>
              <a:gd name="connsiteX310" fmla="*/ 573669 w 1044000"/>
              <a:gd name="connsiteY310" fmla="*/ 835 h 123802"/>
              <a:gd name="connsiteX311" fmla="*/ 573669 w 1044000"/>
              <a:gd name="connsiteY311" fmla="*/ 13839 h 123802"/>
              <a:gd name="connsiteX312" fmla="*/ 570615 w 1044000"/>
              <a:gd name="connsiteY312" fmla="*/ 13377 h 123802"/>
              <a:gd name="connsiteX313" fmla="*/ 567476 w 1044000"/>
              <a:gd name="connsiteY313" fmla="*/ 13112 h 123802"/>
              <a:gd name="connsiteX314" fmla="*/ 564380 w 1044000"/>
              <a:gd name="connsiteY314" fmla="*/ 12965 h 123802"/>
              <a:gd name="connsiteX315" fmla="*/ 561368 w 1044000"/>
              <a:gd name="connsiteY315" fmla="*/ 12926 h 123802"/>
              <a:gd name="connsiteX316" fmla="*/ 556247 w 1044000"/>
              <a:gd name="connsiteY316" fmla="*/ 13230 h 123802"/>
              <a:gd name="connsiteX317" fmla="*/ 551623 w 1044000"/>
              <a:gd name="connsiteY317" fmla="*/ 14183 h 123802"/>
              <a:gd name="connsiteX318" fmla="*/ 547699 w 1044000"/>
              <a:gd name="connsiteY318" fmla="*/ 16059 h 123802"/>
              <a:gd name="connsiteX319" fmla="*/ 544688 w 1044000"/>
              <a:gd name="connsiteY319" fmla="*/ 19044 h 123802"/>
              <a:gd name="connsiteX320" fmla="*/ 542705 w 1044000"/>
              <a:gd name="connsiteY320" fmla="*/ 23248 h 123802"/>
              <a:gd name="connsiteX321" fmla="*/ 541963 w 1044000"/>
              <a:gd name="connsiteY321" fmla="*/ 29063 h 123802"/>
              <a:gd name="connsiteX322" fmla="*/ 541963 w 1044000"/>
              <a:gd name="connsiteY322" fmla="*/ 41762 h 123802"/>
              <a:gd name="connsiteX323" fmla="*/ 573669 w 1044000"/>
              <a:gd name="connsiteY323" fmla="*/ 41762 h 123802"/>
              <a:gd name="connsiteX324" fmla="*/ 573669 w 1044000"/>
              <a:gd name="connsiteY324" fmla="*/ 54913 h 123802"/>
              <a:gd name="connsiteX325" fmla="*/ 541963 w 1044000"/>
              <a:gd name="connsiteY325" fmla="*/ 54913 h 123802"/>
              <a:gd name="connsiteX326" fmla="*/ 541963 w 1044000"/>
              <a:gd name="connsiteY326" fmla="*/ 121445 h 123802"/>
              <a:gd name="connsiteX327" fmla="*/ 525865 w 1044000"/>
              <a:gd name="connsiteY327" fmla="*/ 121445 h 123802"/>
              <a:gd name="connsiteX328" fmla="*/ 525865 w 1044000"/>
              <a:gd name="connsiteY328" fmla="*/ 54903 h 123802"/>
              <a:gd name="connsiteX329" fmla="*/ 506131 w 1044000"/>
              <a:gd name="connsiteY329" fmla="*/ 54903 h 123802"/>
              <a:gd name="connsiteX330" fmla="*/ 506131 w 1044000"/>
              <a:gd name="connsiteY330" fmla="*/ 41752 h 123802"/>
              <a:gd name="connsiteX331" fmla="*/ 525865 w 1044000"/>
              <a:gd name="connsiteY331" fmla="*/ 41752 h 123802"/>
              <a:gd name="connsiteX332" fmla="*/ 525865 w 1044000"/>
              <a:gd name="connsiteY332" fmla="*/ 28748 h 123802"/>
              <a:gd name="connsiteX333" fmla="*/ 527191 w 1044000"/>
              <a:gd name="connsiteY333" fmla="*/ 18966 h 123802"/>
              <a:gd name="connsiteX334" fmla="*/ 530945 w 1044000"/>
              <a:gd name="connsiteY334" fmla="*/ 11511 h 123802"/>
              <a:gd name="connsiteX335" fmla="*/ 536682 w 1044000"/>
              <a:gd name="connsiteY335" fmla="*/ 6119 h 123802"/>
              <a:gd name="connsiteX336" fmla="*/ 543903 w 1044000"/>
              <a:gd name="connsiteY336" fmla="*/ 2564 h 123802"/>
              <a:gd name="connsiteX337" fmla="*/ 552238 w 1044000"/>
              <a:gd name="connsiteY337" fmla="*/ 609 h 123802"/>
              <a:gd name="connsiteX338" fmla="*/ 561284 w 1044000"/>
              <a:gd name="connsiteY338" fmla="*/ 0 h 123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1044000" h="123802">
                <a:moveTo>
                  <a:pt x="427235" y="62171"/>
                </a:moveTo>
                <a:cubicBezTo>
                  <a:pt x="425369" y="62171"/>
                  <a:pt x="423545" y="62368"/>
                  <a:pt x="421785" y="62780"/>
                </a:cubicBezTo>
                <a:cubicBezTo>
                  <a:pt x="420077" y="63134"/>
                  <a:pt x="418476" y="63723"/>
                  <a:pt x="416991" y="64538"/>
                </a:cubicBezTo>
                <a:cubicBezTo>
                  <a:pt x="415560" y="65304"/>
                  <a:pt x="414234" y="66247"/>
                  <a:pt x="413025" y="67367"/>
                </a:cubicBezTo>
                <a:cubicBezTo>
                  <a:pt x="411816" y="68487"/>
                  <a:pt x="410767" y="69763"/>
                  <a:pt x="409886" y="71188"/>
                </a:cubicBezTo>
                <a:cubicBezTo>
                  <a:pt x="409059" y="72612"/>
                  <a:pt x="408402" y="74193"/>
                  <a:pt x="407903" y="75932"/>
                </a:cubicBezTo>
                <a:cubicBezTo>
                  <a:pt x="407469" y="77621"/>
                  <a:pt x="407246" y="79457"/>
                  <a:pt x="407246" y="81441"/>
                </a:cubicBezTo>
                <a:cubicBezTo>
                  <a:pt x="407246" y="83425"/>
                  <a:pt x="407469" y="85291"/>
                  <a:pt x="407903" y="87020"/>
                </a:cubicBezTo>
                <a:cubicBezTo>
                  <a:pt x="408402" y="88700"/>
                  <a:pt x="409059" y="90251"/>
                  <a:pt x="409876" y="91676"/>
                </a:cubicBezTo>
                <a:cubicBezTo>
                  <a:pt x="410756" y="93100"/>
                  <a:pt x="411806" y="94377"/>
                  <a:pt x="413015" y="95496"/>
                </a:cubicBezTo>
                <a:cubicBezTo>
                  <a:pt x="414234" y="96616"/>
                  <a:pt x="415549" y="97588"/>
                  <a:pt x="416981" y="98403"/>
                </a:cubicBezTo>
                <a:cubicBezTo>
                  <a:pt x="418476" y="99170"/>
                  <a:pt x="420066" y="99749"/>
                  <a:pt x="421774" y="100162"/>
                </a:cubicBezTo>
                <a:cubicBezTo>
                  <a:pt x="423534" y="100525"/>
                  <a:pt x="425358" y="100702"/>
                  <a:pt x="427224" y="100702"/>
                </a:cubicBezTo>
                <a:cubicBezTo>
                  <a:pt x="429101" y="100702"/>
                  <a:pt x="430883" y="100525"/>
                  <a:pt x="432601" y="100171"/>
                </a:cubicBezTo>
                <a:cubicBezTo>
                  <a:pt x="434361" y="99769"/>
                  <a:pt x="435984" y="99179"/>
                  <a:pt x="437468" y="98413"/>
                </a:cubicBezTo>
                <a:cubicBezTo>
                  <a:pt x="438963" y="97598"/>
                  <a:pt x="440310" y="96626"/>
                  <a:pt x="441519" y="95506"/>
                </a:cubicBezTo>
                <a:cubicBezTo>
                  <a:pt x="442728" y="94386"/>
                  <a:pt x="443746" y="93110"/>
                  <a:pt x="444573" y="91685"/>
                </a:cubicBezTo>
                <a:cubicBezTo>
                  <a:pt x="445400" y="90261"/>
                  <a:pt x="446036" y="88700"/>
                  <a:pt x="446471" y="87020"/>
                </a:cubicBezTo>
                <a:cubicBezTo>
                  <a:pt x="446970" y="85291"/>
                  <a:pt x="447213" y="83425"/>
                  <a:pt x="447213" y="81441"/>
                </a:cubicBezTo>
                <a:cubicBezTo>
                  <a:pt x="447213" y="79448"/>
                  <a:pt x="446970" y="77611"/>
                  <a:pt x="446471" y="75932"/>
                </a:cubicBezTo>
                <a:cubicBezTo>
                  <a:pt x="446036" y="74193"/>
                  <a:pt x="445400" y="72612"/>
                  <a:pt x="444573" y="71188"/>
                </a:cubicBezTo>
                <a:cubicBezTo>
                  <a:pt x="443746" y="69763"/>
                  <a:pt x="442728" y="68487"/>
                  <a:pt x="441519" y="67367"/>
                </a:cubicBezTo>
                <a:cubicBezTo>
                  <a:pt x="440299" y="66247"/>
                  <a:pt x="438953" y="65304"/>
                  <a:pt x="437468" y="64538"/>
                </a:cubicBezTo>
                <a:cubicBezTo>
                  <a:pt x="435984" y="63723"/>
                  <a:pt x="434361" y="63134"/>
                  <a:pt x="432601" y="62780"/>
                </a:cubicBezTo>
                <a:cubicBezTo>
                  <a:pt x="430893" y="62378"/>
                  <a:pt x="429112" y="62171"/>
                  <a:pt x="427235" y="62171"/>
                </a:cubicBezTo>
                <a:close/>
                <a:moveTo>
                  <a:pt x="217133" y="56740"/>
                </a:moveTo>
                <a:cubicBezTo>
                  <a:pt x="215426" y="56740"/>
                  <a:pt x="213803" y="56897"/>
                  <a:pt x="212265" y="57202"/>
                </a:cubicBezTo>
                <a:cubicBezTo>
                  <a:pt x="210717" y="57457"/>
                  <a:pt x="209265" y="57869"/>
                  <a:pt x="207886" y="58429"/>
                </a:cubicBezTo>
                <a:cubicBezTo>
                  <a:pt x="206507" y="58930"/>
                  <a:pt x="205246" y="59598"/>
                  <a:pt x="204090" y="60413"/>
                </a:cubicBezTo>
                <a:cubicBezTo>
                  <a:pt x="202987" y="61228"/>
                  <a:pt x="202001" y="62142"/>
                  <a:pt x="201120" y="63163"/>
                </a:cubicBezTo>
                <a:cubicBezTo>
                  <a:pt x="200240" y="64185"/>
                  <a:pt x="199498" y="65353"/>
                  <a:pt x="198893" y="66679"/>
                </a:cubicBezTo>
                <a:cubicBezTo>
                  <a:pt x="198342" y="67956"/>
                  <a:pt x="197960" y="69351"/>
                  <a:pt x="197738" y="70883"/>
                </a:cubicBezTo>
                <a:lnTo>
                  <a:pt x="197738" y="70893"/>
                </a:lnTo>
                <a:lnTo>
                  <a:pt x="236369" y="70893"/>
                </a:lnTo>
                <a:cubicBezTo>
                  <a:pt x="235987" y="68654"/>
                  <a:pt x="235245" y="66640"/>
                  <a:pt x="234142" y="64853"/>
                </a:cubicBezTo>
                <a:cubicBezTo>
                  <a:pt x="233039" y="63065"/>
                  <a:pt x="231639" y="61582"/>
                  <a:pt x="229932" y="60413"/>
                </a:cubicBezTo>
                <a:cubicBezTo>
                  <a:pt x="228278" y="59235"/>
                  <a:pt x="226359" y="58341"/>
                  <a:pt x="224153" y="57732"/>
                </a:cubicBezTo>
                <a:cubicBezTo>
                  <a:pt x="222000" y="57074"/>
                  <a:pt x="219667" y="56740"/>
                  <a:pt x="217133" y="56740"/>
                </a:cubicBezTo>
                <a:close/>
                <a:moveTo>
                  <a:pt x="792531" y="52909"/>
                </a:moveTo>
                <a:cubicBezTo>
                  <a:pt x="789837" y="52909"/>
                  <a:pt x="787229" y="53214"/>
                  <a:pt x="784726" y="53823"/>
                </a:cubicBezTo>
                <a:cubicBezTo>
                  <a:pt x="782223" y="54432"/>
                  <a:pt x="779890" y="55316"/>
                  <a:pt x="777748" y="56465"/>
                </a:cubicBezTo>
                <a:cubicBezTo>
                  <a:pt x="775606" y="57614"/>
                  <a:pt x="773634" y="59009"/>
                  <a:pt x="771842" y="60669"/>
                </a:cubicBezTo>
                <a:cubicBezTo>
                  <a:pt x="770050" y="62328"/>
                  <a:pt x="768523" y="64214"/>
                  <a:pt x="767261" y="66326"/>
                </a:cubicBezTo>
                <a:cubicBezTo>
                  <a:pt x="765988" y="68447"/>
                  <a:pt x="765013" y="70775"/>
                  <a:pt x="764334" y="73319"/>
                </a:cubicBezTo>
                <a:cubicBezTo>
                  <a:pt x="763645" y="75872"/>
                  <a:pt x="763305" y="78623"/>
                  <a:pt x="763305" y="81579"/>
                </a:cubicBezTo>
                <a:cubicBezTo>
                  <a:pt x="763305" y="84535"/>
                  <a:pt x="763645" y="87305"/>
                  <a:pt x="764334" y="89878"/>
                </a:cubicBezTo>
                <a:cubicBezTo>
                  <a:pt x="765023" y="92451"/>
                  <a:pt x="765999" y="94799"/>
                  <a:pt x="767261" y="96920"/>
                </a:cubicBezTo>
                <a:cubicBezTo>
                  <a:pt x="768523" y="99032"/>
                  <a:pt x="770060" y="100918"/>
                  <a:pt x="771842" y="102578"/>
                </a:cubicBezTo>
                <a:cubicBezTo>
                  <a:pt x="773623" y="104238"/>
                  <a:pt x="775596" y="105632"/>
                  <a:pt x="777748" y="106781"/>
                </a:cubicBezTo>
                <a:cubicBezTo>
                  <a:pt x="779890" y="107930"/>
                  <a:pt x="782223" y="108795"/>
                  <a:pt x="784726" y="109384"/>
                </a:cubicBezTo>
                <a:cubicBezTo>
                  <a:pt x="787229" y="109973"/>
                  <a:pt x="789827" y="110268"/>
                  <a:pt x="792531" y="110268"/>
                </a:cubicBezTo>
                <a:cubicBezTo>
                  <a:pt x="795224" y="110268"/>
                  <a:pt x="797822" y="109973"/>
                  <a:pt x="800335" y="109384"/>
                </a:cubicBezTo>
                <a:cubicBezTo>
                  <a:pt x="802838" y="108805"/>
                  <a:pt x="805181" y="107930"/>
                  <a:pt x="807355" y="106781"/>
                </a:cubicBezTo>
                <a:cubicBezTo>
                  <a:pt x="809529" y="105632"/>
                  <a:pt x="811512" y="104238"/>
                  <a:pt x="813304" y="102578"/>
                </a:cubicBezTo>
                <a:cubicBezTo>
                  <a:pt x="815086" y="100918"/>
                  <a:pt x="816623" y="99032"/>
                  <a:pt x="817885" y="96920"/>
                </a:cubicBezTo>
                <a:cubicBezTo>
                  <a:pt x="819158" y="94799"/>
                  <a:pt x="820123" y="92461"/>
                  <a:pt x="820823" y="89878"/>
                </a:cubicBezTo>
                <a:cubicBezTo>
                  <a:pt x="821512" y="87305"/>
                  <a:pt x="821851" y="84535"/>
                  <a:pt x="821851" y="81579"/>
                </a:cubicBezTo>
                <a:cubicBezTo>
                  <a:pt x="821851" y="78623"/>
                  <a:pt x="821512" y="75872"/>
                  <a:pt x="820823" y="73319"/>
                </a:cubicBezTo>
                <a:cubicBezTo>
                  <a:pt x="820133" y="70775"/>
                  <a:pt x="819158" y="68438"/>
                  <a:pt x="817885" y="66326"/>
                </a:cubicBezTo>
                <a:cubicBezTo>
                  <a:pt x="816623" y="64214"/>
                  <a:pt x="815086" y="62328"/>
                  <a:pt x="813304" y="60669"/>
                </a:cubicBezTo>
                <a:cubicBezTo>
                  <a:pt x="811512" y="59009"/>
                  <a:pt x="809529" y="57614"/>
                  <a:pt x="807355" y="56465"/>
                </a:cubicBezTo>
                <a:cubicBezTo>
                  <a:pt x="805181" y="55316"/>
                  <a:pt x="802859" y="54442"/>
                  <a:pt x="800378" y="53823"/>
                </a:cubicBezTo>
                <a:cubicBezTo>
                  <a:pt x="797896" y="53214"/>
                  <a:pt x="795288" y="52909"/>
                  <a:pt x="792531" y="52909"/>
                </a:cubicBezTo>
                <a:close/>
                <a:moveTo>
                  <a:pt x="970597" y="41752"/>
                </a:moveTo>
                <a:lnTo>
                  <a:pt x="1043173" y="41752"/>
                </a:lnTo>
                <a:lnTo>
                  <a:pt x="1043173" y="54442"/>
                </a:lnTo>
                <a:lnTo>
                  <a:pt x="986949" y="108274"/>
                </a:lnTo>
                <a:lnTo>
                  <a:pt x="1044000" y="108274"/>
                </a:lnTo>
                <a:lnTo>
                  <a:pt x="1044000" y="121425"/>
                </a:lnTo>
                <a:lnTo>
                  <a:pt x="967713" y="121425"/>
                </a:lnTo>
                <a:lnTo>
                  <a:pt x="967713" y="108736"/>
                </a:lnTo>
                <a:lnTo>
                  <a:pt x="967702" y="108736"/>
                </a:lnTo>
                <a:lnTo>
                  <a:pt x="1023767" y="54903"/>
                </a:lnTo>
                <a:lnTo>
                  <a:pt x="970597" y="54903"/>
                </a:lnTo>
                <a:close/>
                <a:moveTo>
                  <a:pt x="596415" y="41752"/>
                </a:moveTo>
                <a:lnTo>
                  <a:pt x="612513" y="41752"/>
                </a:lnTo>
                <a:lnTo>
                  <a:pt x="612513" y="121435"/>
                </a:lnTo>
                <a:lnTo>
                  <a:pt x="596415" y="121435"/>
                </a:lnTo>
                <a:close/>
                <a:moveTo>
                  <a:pt x="914967" y="39689"/>
                </a:moveTo>
                <a:cubicBezTo>
                  <a:pt x="919538" y="39689"/>
                  <a:pt x="923695" y="40465"/>
                  <a:pt x="927438" y="42017"/>
                </a:cubicBezTo>
                <a:cubicBezTo>
                  <a:pt x="931181" y="43569"/>
                  <a:pt x="934384" y="45818"/>
                  <a:pt x="937056" y="48745"/>
                </a:cubicBezTo>
                <a:cubicBezTo>
                  <a:pt x="939728" y="51672"/>
                  <a:pt x="941764" y="55257"/>
                  <a:pt x="943164" y="59490"/>
                </a:cubicBezTo>
                <a:cubicBezTo>
                  <a:pt x="944564" y="63723"/>
                  <a:pt x="945274" y="68487"/>
                  <a:pt x="945274" y="73790"/>
                </a:cubicBezTo>
                <a:lnTo>
                  <a:pt x="945274" y="121435"/>
                </a:lnTo>
                <a:lnTo>
                  <a:pt x="929092" y="121435"/>
                </a:lnTo>
                <a:lnTo>
                  <a:pt x="929092" y="77228"/>
                </a:lnTo>
                <a:cubicBezTo>
                  <a:pt x="929092" y="73309"/>
                  <a:pt x="928594" y="69813"/>
                  <a:pt x="927608" y="66748"/>
                </a:cubicBezTo>
                <a:cubicBezTo>
                  <a:pt x="926611" y="63694"/>
                  <a:pt x="925179" y="61130"/>
                  <a:pt x="923313" y="59058"/>
                </a:cubicBezTo>
                <a:cubicBezTo>
                  <a:pt x="921436" y="56995"/>
                  <a:pt x="919124" y="55443"/>
                  <a:pt x="916378" y="54393"/>
                </a:cubicBezTo>
                <a:cubicBezTo>
                  <a:pt x="913621" y="53351"/>
                  <a:pt x="910482" y="52821"/>
                  <a:pt x="906961" y="52821"/>
                </a:cubicBezTo>
                <a:cubicBezTo>
                  <a:pt x="903430" y="52821"/>
                  <a:pt x="900302" y="53342"/>
                  <a:pt x="897545" y="54393"/>
                </a:cubicBezTo>
                <a:cubicBezTo>
                  <a:pt x="894798" y="55434"/>
                  <a:pt x="892476" y="56995"/>
                  <a:pt x="890609" y="59058"/>
                </a:cubicBezTo>
                <a:cubicBezTo>
                  <a:pt x="888732" y="61120"/>
                  <a:pt x="887311" y="63684"/>
                  <a:pt x="886315" y="66748"/>
                </a:cubicBezTo>
                <a:cubicBezTo>
                  <a:pt x="885318" y="69803"/>
                  <a:pt x="884830" y="73299"/>
                  <a:pt x="884830" y="77228"/>
                </a:cubicBezTo>
                <a:lnTo>
                  <a:pt x="884830" y="121435"/>
                </a:lnTo>
                <a:lnTo>
                  <a:pt x="868733" y="121435"/>
                </a:lnTo>
                <a:lnTo>
                  <a:pt x="868733" y="41752"/>
                </a:lnTo>
                <a:lnTo>
                  <a:pt x="884830" y="41752"/>
                </a:lnTo>
                <a:lnTo>
                  <a:pt x="884830" y="60875"/>
                </a:lnTo>
                <a:cubicBezTo>
                  <a:pt x="885986" y="57201"/>
                  <a:pt x="887481" y="54059"/>
                  <a:pt x="889326" y="51426"/>
                </a:cubicBezTo>
                <a:cubicBezTo>
                  <a:pt x="891171" y="48804"/>
                  <a:pt x="893356" y="46624"/>
                  <a:pt x="895890" y="44885"/>
                </a:cubicBezTo>
                <a:cubicBezTo>
                  <a:pt x="898425" y="43157"/>
                  <a:pt x="901267" y="41850"/>
                  <a:pt x="904437" y="40986"/>
                </a:cubicBezTo>
                <a:cubicBezTo>
                  <a:pt x="907608" y="40122"/>
                  <a:pt x="911107" y="39689"/>
                  <a:pt x="914967" y="39689"/>
                </a:cubicBezTo>
                <a:close/>
                <a:moveTo>
                  <a:pt x="690719" y="39689"/>
                </a:moveTo>
                <a:cubicBezTo>
                  <a:pt x="695290" y="39689"/>
                  <a:pt x="699446" y="40465"/>
                  <a:pt x="703190" y="42017"/>
                </a:cubicBezTo>
                <a:cubicBezTo>
                  <a:pt x="706933" y="43569"/>
                  <a:pt x="710135" y="45818"/>
                  <a:pt x="712808" y="48745"/>
                </a:cubicBezTo>
                <a:cubicBezTo>
                  <a:pt x="715480" y="51682"/>
                  <a:pt x="717516" y="55257"/>
                  <a:pt x="718916" y="59490"/>
                </a:cubicBezTo>
                <a:cubicBezTo>
                  <a:pt x="720316" y="63723"/>
                  <a:pt x="721026" y="68487"/>
                  <a:pt x="721026" y="73790"/>
                </a:cubicBezTo>
                <a:lnTo>
                  <a:pt x="721026" y="121435"/>
                </a:lnTo>
                <a:lnTo>
                  <a:pt x="704844" y="121435"/>
                </a:lnTo>
                <a:lnTo>
                  <a:pt x="704844" y="77228"/>
                </a:lnTo>
                <a:cubicBezTo>
                  <a:pt x="704844" y="73309"/>
                  <a:pt x="704346" y="69813"/>
                  <a:pt x="703359" y="66748"/>
                </a:cubicBezTo>
                <a:cubicBezTo>
                  <a:pt x="702363" y="63694"/>
                  <a:pt x="700931" y="61130"/>
                  <a:pt x="699065" y="59058"/>
                </a:cubicBezTo>
                <a:cubicBezTo>
                  <a:pt x="697188" y="56995"/>
                  <a:pt x="694876" y="55443"/>
                  <a:pt x="692129" y="54393"/>
                </a:cubicBezTo>
                <a:cubicBezTo>
                  <a:pt x="689372" y="53351"/>
                  <a:pt x="686234" y="52821"/>
                  <a:pt x="682713" y="52821"/>
                </a:cubicBezTo>
                <a:cubicBezTo>
                  <a:pt x="679182" y="52821"/>
                  <a:pt x="676053" y="53342"/>
                  <a:pt x="673296" y="54393"/>
                </a:cubicBezTo>
                <a:cubicBezTo>
                  <a:pt x="670550" y="55434"/>
                  <a:pt x="668227" y="56995"/>
                  <a:pt x="666361" y="59058"/>
                </a:cubicBezTo>
                <a:cubicBezTo>
                  <a:pt x="664484" y="61120"/>
                  <a:pt x="663063" y="63684"/>
                  <a:pt x="662066" y="66748"/>
                </a:cubicBezTo>
                <a:cubicBezTo>
                  <a:pt x="661070" y="69803"/>
                  <a:pt x="660582" y="73299"/>
                  <a:pt x="660582" y="77228"/>
                </a:cubicBezTo>
                <a:lnTo>
                  <a:pt x="660582" y="121435"/>
                </a:lnTo>
                <a:lnTo>
                  <a:pt x="644485" y="121435"/>
                </a:lnTo>
                <a:lnTo>
                  <a:pt x="644485" y="41752"/>
                </a:lnTo>
                <a:lnTo>
                  <a:pt x="660582" y="41752"/>
                </a:lnTo>
                <a:lnTo>
                  <a:pt x="660582" y="60875"/>
                </a:lnTo>
                <a:cubicBezTo>
                  <a:pt x="661738" y="57201"/>
                  <a:pt x="663233" y="54059"/>
                  <a:pt x="665078" y="51426"/>
                </a:cubicBezTo>
                <a:cubicBezTo>
                  <a:pt x="666923" y="48804"/>
                  <a:pt x="669108" y="46624"/>
                  <a:pt x="671642" y="44885"/>
                </a:cubicBezTo>
                <a:cubicBezTo>
                  <a:pt x="674176" y="43157"/>
                  <a:pt x="677018" y="41850"/>
                  <a:pt x="680189" y="40986"/>
                </a:cubicBezTo>
                <a:cubicBezTo>
                  <a:pt x="683360" y="40122"/>
                  <a:pt x="686859" y="39689"/>
                  <a:pt x="690719" y="39689"/>
                </a:cubicBezTo>
                <a:close/>
                <a:moveTo>
                  <a:pt x="788321" y="39680"/>
                </a:moveTo>
                <a:cubicBezTo>
                  <a:pt x="791237" y="39680"/>
                  <a:pt x="793962" y="39974"/>
                  <a:pt x="796497" y="40554"/>
                </a:cubicBezTo>
                <a:cubicBezTo>
                  <a:pt x="799031" y="41143"/>
                  <a:pt x="801385" y="41998"/>
                  <a:pt x="803559" y="43117"/>
                </a:cubicBezTo>
                <a:cubicBezTo>
                  <a:pt x="805733" y="44237"/>
                  <a:pt x="807716" y="45573"/>
                  <a:pt x="809508" y="47134"/>
                </a:cubicBezTo>
                <a:cubicBezTo>
                  <a:pt x="811300" y="48686"/>
                  <a:pt x="812923" y="50405"/>
                  <a:pt x="814375" y="52301"/>
                </a:cubicBezTo>
                <a:cubicBezTo>
                  <a:pt x="815828" y="54186"/>
                  <a:pt x="817090" y="56200"/>
                  <a:pt x="818129" y="58341"/>
                </a:cubicBezTo>
                <a:cubicBezTo>
                  <a:pt x="819179" y="60482"/>
                  <a:pt x="820027" y="62702"/>
                  <a:pt x="820695" y="64990"/>
                </a:cubicBezTo>
                <a:lnTo>
                  <a:pt x="820695" y="41752"/>
                </a:lnTo>
                <a:lnTo>
                  <a:pt x="836878" y="41752"/>
                </a:lnTo>
                <a:lnTo>
                  <a:pt x="836878" y="121435"/>
                </a:lnTo>
                <a:lnTo>
                  <a:pt x="820695" y="121435"/>
                </a:lnTo>
                <a:lnTo>
                  <a:pt x="820695" y="98266"/>
                </a:lnTo>
                <a:cubicBezTo>
                  <a:pt x="819699" y="101684"/>
                  <a:pt x="818257" y="104915"/>
                  <a:pt x="816358" y="107980"/>
                </a:cubicBezTo>
                <a:cubicBezTo>
                  <a:pt x="814460" y="111034"/>
                  <a:pt x="812170" y="113725"/>
                  <a:pt x="809508" y="116053"/>
                </a:cubicBezTo>
                <a:cubicBezTo>
                  <a:pt x="806836" y="118371"/>
                  <a:pt x="803729" y="120208"/>
                  <a:pt x="800176" y="121563"/>
                </a:cubicBezTo>
                <a:cubicBezTo>
                  <a:pt x="796624" y="122908"/>
                  <a:pt x="792679" y="123586"/>
                  <a:pt x="788331" y="123586"/>
                </a:cubicBezTo>
                <a:cubicBezTo>
                  <a:pt x="784238" y="123576"/>
                  <a:pt x="780389" y="123105"/>
                  <a:pt x="776762" y="122162"/>
                </a:cubicBezTo>
                <a:cubicBezTo>
                  <a:pt x="773125" y="121219"/>
                  <a:pt x="769753" y="119854"/>
                  <a:pt x="766646" y="118066"/>
                </a:cubicBezTo>
                <a:cubicBezTo>
                  <a:pt x="763539" y="116279"/>
                  <a:pt x="760718" y="114157"/>
                  <a:pt x="758183" y="111682"/>
                </a:cubicBezTo>
                <a:cubicBezTo>
                  <a:pt x="755649" y="109207"/>
                  <a:pt x="753496" y="106418"/>
                  <a:pt x="751704" y="103314"/>
                </a:cubicBezTo>
                <a:cubicBezTo>
                  <a:pt x="749912" y="100211"/>
                  <a:pt x="748555" y="96822"/>
                  <a:pt x="747622" y="93178"/>
                </a:cubicBezTo>
                <a:cubicBezTo>
                  <a:pt x="746688" y="89534"/>
                  <a:pt x="746222" y="85675"/>
                  <a:pt x="746222" y="81599"/>
                </a:cubicBezTo>
                <a:cubicBezTo>
                  <a:pt x="746222" y="77572"/>
                  <a:pt x="746688" y="73731"/>
                  <a:pt x="747622" y="70088"/>
                </a:cubicBezTo>
                <a:cubicBezTo>
                  <a:pt x="748555" y="66444"/>
                  <a:pt x="749923" y="63065"/>
                  <a:pt x="751704" y="59952"/>
                </a:cubicBezTo>
                <a:cubicBezTo>
                  <a:pt x="753496" y="56848"/>
                  <a:pt x="755660" y="54039"/>
                  <a:pt x="758183" y="51535"/>
                </a:cubicBezTo>
                <a:cubicBezTo>
                  <a:pt x="760718" y="49040"/>
                  <a:pt x="763539" y="46899"/>
                  <a:pt x="766646" y="45111"/>
                </a:cubicBezTo>
                <a:cubicBezTo>
                  <a:pt x="769753" y="43324"/>
                  <a:pt x="773125" y="41978"/>
                  <a:pt x="776762" y="41055"/>
                </a:cubicBezTo>
                <a:cubicBezTo>
                  <a:pt x="780389" y="40132"/>
                  <a:pt x="784249" y="39680"/>
                  <a:pt x="788321" y="39680"/>
                </a:cubicBezTo>
                <a:close/>
                <a:moveTo>
                  <a:pt x="417384" y="39061"/>
                </a:moveTo>
                <a:cubicBezTo>
                  <a:pt x="419759" y="39061"/>
                  <a:pt x="421986" y="39287"/>
                  <a:pt x="424075" y="39749"/>
                </a:cubicBezTo>
                <a:cubicBezTo>
                  <a:pt x="426164" y="40161"/>
                  <a:pt x="428094" y="40770"/>
                  <a:pt x="429854" y="41585"/>
                </a:cubicBezTo>
                <a:cubicBezTo>
                  <a:pt x="431668" y="42400"/>
                  <a:pt x="433322" y="43373"/>
                  <a:pt x="434806" y="44492"/>
                </a:cubicBezTo>
                <a:cubicBezTo>
                  <a:pt x="436344" y="45563"/>
                  <a:pt x="437754" y="46791"/>
                  <a:pt x="439016" y="48166"/>
                </a:cubicBezTo>
                <a:cubicBezTo>
                  <a:pt x="440342" y="49492"/>
                  <a:pt x="441519" y="50916"/>
                  <a:pt x="442569" y="52448"/>
                </a:cubicBezTo>
                <a:cubicBezTo>
                  <a:pt x="443619" y="53980"/>
                  <a:pt x="444552" y="55561"/>
                  <a:pt x="445379" y="57192"/>
                </a:cubicBezTo>
                <a:lnTo>
                  <a:pt x="445379" y="41595"/>
                </a:lnTo>
                <a:lnTo>
                  <a:pt x="474530" y="41595"/>
                </a:lnTo>
                <a:lnTo>
                  <a:pt x="474530" y="121268"/>
                </a:lnTo>
                <a:lnTo>
                  <a:pt x="445379" y="121268"/>
                </a:lnTo>
                <a:lnTo>
                  <a:pt x="445379" y="105671"/>
                </a:lnTo>
                <a:cubicBezTo>
                  <a:pt x="444117" y="108127"/>
                  <a:pt x="442601" y="110445"/>
                  <a:pt x="440840" y="112635"/>
                </a:cubicBezTo>
                <a:cubicBezTo>
                  <a:pt x="439144" y="114825"/>
                  <a:pt x="437129" y="116770"/>
                  <a:pt x="434817" y="118449"/>
                </a:cubicBezTo>
                <a:cubicBezTo>
                  <a:pt x="432558" y="120080"/>
                  <a:pt x="429971" y="121376"/>
                  <a:pt x="427055" y="122349"/>
                </a:cubicBezTo>
                <a:cubicBezTo>
                  <a:pt x="424192" y="123321"/>
                  <a:pt x="420978" y="123802"/>
                  <a:pt x="417394" y="123802"/>
                </a:cubicBezTo>
                <a:cubicBezTo>
                  <a:pt x="413598" y="123802"/>
                  <a:pt x="409971" y="123321"/>
                  <a:pt x="406482" y="122319"/>
                </a:cubicBezTo>
                <a:cubicBezTo>
                  <a:pt x="403015" y="121357"/>
                  <a:pt x="399791" y="119982"/>
                  <a:pt x="396822" y="118194"/>
                </a:cubicBezTo>
                <a:cubicBezTo>
                  <a:pt x="393853" y="116406"/>
                  <a:pt x="391149" y="114265"/>
                  <a:pt x="388731" y="111771"/>
                </a:cubicBezTo>
                <a:cubicBezTo>
                  <a:pt x="386313" y="109276"/>
                  <a:pt x="384245" y="106477"/>
                  <a:pt x="382538" y="103363"/>
                </a:cubicBezTo>
                <a:cubicBezTo>
                  <a:pt x="380831" y="100211"/>
                  <a:pt x="379505" y="96793"/>
                  <a:pt x="378572" y="93119"/>
                </a:cubicBezTo>
                <a:cubicBezTo>
                  <a:pt x="377639" y="89397"/>
                  <a:pt x="377172" y="85508"/>
                  <a:pt x="377172" y="81422"/>
                </a:cubicBezTo>
                <a:cubicBezTo>
                  <a:pt x="377172" y="77336"/>
                  <a:pt x="377639" y="73466"/>
                  <a:pt x="378572" y="69793"/>
                </a:cubicBezTo>
                <a:cubicBezTo>
                  <a:pt x="379516" y="66070"/>
                  <a:pt x="380831" y="62662"/>
                  <a:pt x="382538" y="59549"/>
                </a:cubicBezTo>
                <a:cubicBezTo>
                  <a:pt x="384245" y="56386"/>
                  <a:pt x="386313" y="53558"/>
                  <a:pt x="388731" y="51063"/>
                </a:cubicBezTo>
                <a:cubicBezTo>
                  <a:pt x="391149" y="48568"/>
                  <a:pt x="393853" y="46427"/>
                  <a:pt x="396822" y="44640"/>
                </a:cubicBezTo>
                <a:cubicBezTo>
                  <a:pt x="399791" y="42862"/>
                  <a:pt x="403015" y="41487"/>
                  <a:pt x="406482" y="40515"/>
                </a:cubicBezTo>
                <a:cubicBezTo>
                  <a:pt x="409950" y="39542"/>
                  <a:pt x="413587" y="39061"/>
                  <a:pt x="417384" y="39061"/>
                </a:cubicBezTo>
                <a:close/>
                <a:moveTo>
                  <a:pt x="114049" y="39061"/>
                </a:moveTo>
                <a:cubicBezTo>
                  <a:pt x="118789" y="39061"/>
                  <a:pt x="122967" y="39798"/>
                  <a:pt x="126604" y="41281"/>
                </a:cubicBezTo>
                <a:cubicBezTo>
                  <a:pt x="130231" y="42705"/>
                  <a:pt x="133285" y="44826"/>
                  <a:pt x="135766" y="47625"/>
                </a:cubicBezTo>
                <a:cubicBezTo>
                  <a:pt x="138301" y="50385"/>
                  <a:pt x="140199" y="53744"/>
                  <a:pt x="141461" y="57722"/>
                </a:cubicBezTo>
                <a:cubicBezTo>
                  <a:pt x="142786" y="61700"/>
                  <a:pt x="143444" y="66237"/>
                  <a:pt x="143444" y="71335"/>
                </a:cubicBezTo>
                <a:lnTo>
                  <a:pt x="143444" y="121268"/>
                </a:lnTo>
                <a:lnTo>
                  <a:pt x="114293" y="121268"/>
                </a:lnTo>
                <a:lnTo>
                  <a:pt x="114293" y="78672"/>
                </a:lnTo>
                <a:cubicBezTo>
                  <a:pt x="114293" y="75872"/>
                  <a:pt x="114017" y="73427"/>
                  <a:pt x="113466" y="71335"/>
                </a:cubicBezTo>
                <a:cubicBezTo>
                  <a:pt x="112967" y="69253"/>
                  <a:pt x="112140" y="67514"/>
                  <a:pt x="110984" y="66139"/>
                </a:cubicBezTo>
                <a:cubicBezTo>
                  <a:pt x="109828" y="64715"/>
                  <a:pt x="108365" y="63645"/>
                  <a:pt x="106605" y="62928"/>
                </a:cubicBezTo>
                <a:cubicBezTo>
                  <a:pt x="104844" y="62211"/>
                  <a:pt x="102745" y="61857"/>
                  <a:pt x="100327" y="61857"/>
                </a:cubicBezTo>
                <a:cubicBezTo>
                  <a:pt x="97898" y="61857"/>
                  <a:pt x="95809" y="62211"/>
                  <a:pt x="94049" y="62928"/>
                </a:cubicBezTo>
                <a:cubicBezTo>
                  <a:pt x="92289" y="63645"/>
                  <a:pt x="90826" y="64715"/>
                  <a:pt x="89670" y="66139"/>
                </a:cubicBezTo>
                <a:cubicBezTo>
                  <a:pt x="88567" y="67514"/>
                  <a:pt x="87740" y="69253"/>
                  <a:pt x="87199" y="71345"/>
                </a:cubicBezTo>
                <a:cubicBezTo>
                  <a:pt x="86647" y="73427"/>
                  <a:pt x="86372" y="75882"/>
                  <a:pt x="86372" y="78682"/>
                </a:cubicBezTo>
                <a:lnTo>
                  <a:pt x="86372" y="121268"/>
                </a:lnTo>
                <a:lnTo>
                  <a:pt x="57136" y="121268"/>
                </a:lnTo>
                <a:lnTo>
                  <a:pt x="57136" y="78672"/>
                </a:lnTo>
                <a:cubicBezTo>
                  <a:pt x="57136" y="75872"/>
                  <a:pt x="56860" y="73427"/>
                  <a:pt x="56309" y="71335"/>
                </a:cubicBezTo>
                <a:cubicBezTo>
                  <a:pt x="55821" y="69253"/>
                  <a:pt x="54994" y="67514"/>
                  <a:pt x="53838" y="66139"/>
                </a:cubicBezTo>
                <a:cubicBezTo>
                  <a:pt x="52735" y="64715"/>
                  <a:pt x="51303" y="63645"/>
                  <a:pt x="49543" y="62928"/>
                </a:cubicBezTo>
                <a:cubicBezTo>
                  <a:pt x="47772" y="62211"/>
                  <a:pt x="45662" y="61857"/>
                  <a:pt x="43181" y="61857"/>
                </a:cubicBezTo>
                <a:cubicBezTo>
                  <a:pt x="40763" y="61857"/>
                  <a:pt x="38674" y="62211"/>
                  <a:pt x="36913" y="62928"/>
                </a:cubicBezTo>
                <a:cubicBezTo>
                  <a:pt x="35153" y="63645"/>
                  <a:pt x="33690" y="64715"/>
                  <a:pt x="32534" y="66139"/>
                </a:cubicBezTo>
                <a:cubicBezTo>
                  <a:pt x="31431" y="67514"/>
                  <a:pt x="30604" y="69253"/>
                  <a:pt x="30053" y="71345"/>
                </a:cubicBezTo>
                <a:cubicBezTo>
                  <a:pt x="29501" y="73427"/>
                  <a:pt x="29225" y="75882"/>
                  <a:pt x="29225" y="78682"/>
                </a:cubicBezTo>
                <a:lnTo>
                  <a:pt x="29225" y="121278"/>
                </a:lnTo>
                <a:lnTo>
                  <a:pt x="0" y="121278"/>
                </a:lnTo>
                <a:lnTo>
                  <a:pt x="0" y="41595"/>
                </a:lnTo>
                <a:lnTo>
                  <a:pt x="29236" y="41595"/>
                </a:lnTo>
                <a:lnTo>
                  <a:pt x="29236" y="56504"/>
                </a:lnTo>
                <a:cubicBezTo>
                  <a:pt x="30445" y="53852"/>
                  <a:pt x="31898" y="51456"/>
                  <a:pt x="33605" y="49315"/>
                </a:cubicBezTo>
                <a:cubicBezTo>
                  <a:pt x="35365" y="47174"/>
                  <a:pt x="37380" y="45337"/>
                  <a:pt x="39639" y="43805"/>
                </a:cubicBezTo>
                <a:cubicBezTo>
                  <a:pt x="41951" y="42282"/>
                  <a:pt x="44506" y="41104"/>
                  <a:pt x="47316" y="40299"/>
                </a:cubicBezTo>
                <a:cubicBezTo>
                  <a:pt x="50179" y="39483"/>
                  <a:pt x="53371" y="39071"/>
                  <a:pt x="56892" y="39071"/>
                </a:cubicBezTo>
                <a:cubicBezTo>
                  <a:pt x="60413" y="39071"/>
                  <a:pt x="63636" y="39503"/>
                  <a:pt x="66552" y="40367"/>
                </a:cubicBezTo>
                <a:cubicBezTo>
                  <a:pt x="69522" y="41232"/>
                  <a:pt x="72162" y="42508"/>
                  <a:pt x="74474" y="44188"/>
                </a:cubicBezTo>
                <a:cubicBezTo>
                  <a:pt x="76785" y="45818"/>
                  <a:pt x="78747" y="47832"/>
                  <a:pt x="80349" y="50228"/>
                </a:cubicBezTo>
                <a:cubicBezTo>
                  <a:pt x="81939" y="52625"/>
                  <a:pt x="83180" y="55375"/>
                  <a:pt x="84060" y="58488"/>
                </a:cubicBezTo>
                <a:cubicBezTo>
                  <a:pt x="85428" y="55335"/>
                  <a:pt x="87135" y="52556"/>
                  <a:pt x="89171" y="50159"/>
                </a:cubicBezTo>
                <a:cubicBezTo>
                  <a:pt x="91207" y="47714"/>
                  <a:pt x="93498" y="45671"/>
                  <a:pt x="96032" y="44041"/>
                </a:cubicBezTo>
                <a:cubicBezTo>
                  <a:pt x="98556" y="42410"/>
                  <a:pt x="101345" y="41182"/>
                  <a:pt x="104388" y="40357"/>
                </a:cubicBezTo>
                <a:cubicBezTo>
                  <a:pt x="107411" y="39493"/>
                  <a:pt x="110634" y="39061"/>
                  <a:pt x="114049" y="39061"/>
                </a:cubicBezTo>
                <a:close/>
                <a:moveTo>
                  <a:pt x="217387" y="38619"/>
                </a:moveTo>
                <a:cubicBezTo>
                  <a:pt x="222393" y="38619"/>
                  <a:pt x="227048" y="39159"/>
                  <a:pt x="231343" y="40230"/>
                </a:cubicBezTo>
                <a:cubicBezTo>
                  <a:pt x="235690" y="41241"/>
                  <a:pt x="239625" y="42754"/>
                  <a:pt x="243145" y="44738"/>
                </a:cubicBezTo>
                <a:cubicBezTo>
                  <a:pt x="246729" y="46673"/>
                  <a:pt x="249868" y="49069"/>
                  <a:pt x="252562" y="51927"/>
                </a:cubicBezTo>
                <a:cubicBezTo>
                  <a:pt x="255255" y="54776"/>
                  <a:pt x="257461" y="58066"/>
                  <a:pt x="259168" y="61788"/>
                </a:cubicBezTo>
                <a:cubicBezTo>
                  <a:pt x="260929" y="65462"/>
                  <a:pt x="262148" y="69538"/>
                  <a:pt x="262805" y="74026"/>
                </a:cubicBezTo>
                <a:cubicBezTo>
                  <a:pt x="263527" y="78505"/>
                  <a:pt x="263664" y="83357"/>
                  <a:pt x="263219" y="88552"/>
                </a:cubicBezTo>
                <a:lnTo>
                  <a:pt x="199063" y="88552"/>
                </a:lnTo>
                <a:cubicBezTo>
                  <a:pt x="199445" y="90025"/>
                  <a:pt x="199975" y="91430"/>
                  <a:pt x="200633" y="92756"/>
                </a:cubicBezTo>
                <a:cubicBezTo>
                  <a:pt x="201343" y="94082"/>
                  <a:pt x="202223" y="95280"/>
                  <a:pt x="203273" y="96351"/>
                </a:cubicBezTo>
                <a:cubicBezTo>
                  <a:pt x="204376" y="97421"/>
                  <a:pt x="205585" y="98394"/>
                  <a:pt x="206910" y="99258"/>
                </a:cubicBezTo>
                <a:cubicBezTo>
                  <a:pt x="208278" y="100122"/>
                  <a:pt x="209763" y="100869"/>
                  <a:pt x="211364" y="101478"/>
                </a:cubicBezTo>
                <a:cubicBezTo>
                  <a:pt x="212965" y="102037"/>
                  <a:pt x="214673" y="102470"/>
                  <a:pt x="216486" y="102774"/>
                </a:cubicBezTo>
                <a:cubicBezTo>
                  <a:pt x="218299" y="103079"/>
                  <a:pt x="220229" y="103236"/>
                  <a:pt x="222265" y="103236"/>
                </a:cubicBezTo>
                <a:cubicBezTo>
                  <a:pt x="224513" y="103236"/>
                  <a:pt x="226772" y="103049"/>
                  <a:pt x="229031" y="102695"/>
                </a:cubicBezTo>
                <a:cubicBezTo>
                  <a:pt x="231290" y="102283"/>
                  <a:pt x="233495" y="101674"/>
                  <a:pt x="235637" y="100859"/>
                </a:cubicBezTo>
                <a:cubicBezTo>
                  <a:pt x="237832" y="99994"/>
                  <a:pt x="239985" y="98895"/>
                  <a:pt x="242074" y="97569"/>
                </a:cubicBezTo>
                <a:cubicBezTo>
                  <a:pt x="244174" y="96243"/>
                  <a:pt x="246146" y="94661"/>
                  <a:pt x="248023" y="92825"/>
                </a:cubicBezTo>
                <a:lnTo>
                  <a:pt x="261650" y="108805"/>
                </a:lnTo>
                <a:cubicBezTo>
                  <a:pt x="258797" y="111456"/>
                  <a:pt x="255764" y="113725"/>
                  <a:pt x="252572" y="115611"/>
                </a:cubicBezTo>
                <a:cubicBezTo>
                  <a:pt x="249380" y="117497"/>
                  <a:pt x="246051" y="119049"/>
                  <a:pt x="242583" y="120276"/>
                </a:cubicBezTo>
                <a:cubicBezTo>
                  <a:pt x="239116" y="121504"/>
                  <a:pt x="235478" y="122398"/>
                  <a:pt x="231682" y="122958"/>
                </a:cubicBezTo>
                <a:cubicBezTo>
                  <a:pt x="227939" y="123517"/>
                  <a:pt x="224026" y="123802"/>
                  <a:pt x="219954" y="123802"/>
                </a:cubicBezTo>
                <a:cubicBezTo>
                  <a:pt x="214885" y="123802"/>
                  <a:pt x="210123" y="123292"/>
                  <a:pt x="205659" y="122270"/>
                </a:cubicBezTo>
                <a:cubicBezTo>
                  <a:pt x="201205" y="121308"/>
                  <a:pt x="197133" y="119933"/>
                  <a:pt x="193443" y="118145"/>
                </a:cubicBezTo>
                <a:cubicBezTo>
                  <a:pt x="189763" y="116308"/>
                  <a:pt x="186455" y="114138"/>
                  <a:pt x="183539" y="111643"/>
                </a:cubicBezTo>
                <a:cubicBezTo>
                  <a:pt x="180622" y="109099"/>
                  <a:pt x="178141" y="106241"/>
                  <a:pt x="176105" y="103079"/>
                </a:cubicBezTo>
                <a:cubicBezTo>
                  <a:pt x="174122" y="99926"/>
                  <a:pt x="172616" y="96508"/>
                  <a:pt x="171566" y="92835"/>
                </a:cubicBezTo>
                <a:cubicBezTo>
                  <a:pt x="170517" y="89161"/>
                  <a:pt x="169997" y="85341"/>
                  <a:pt x="169997" y="81363"/>
                </a:cubicBezTo>
                <a:cubicBezTo>
                  <a:pt x="169997" y="77336"/>
                  <a:pt x="170495" y="73486"/>
                  <a:pt x="171482" y="69813"/>
                </a:cubicBezTo>
                <a:cubicBezTo>
                  <a:pt x="172521" y="66149"/>
                  <a:pt x="174005" y="62731"/>
                  <a:pt x="175935" y="59569"/>
                </a:cubicBezTo>
                <a:cubicBezTo>
                  <a:pt x="177865" y="56406"/>
                  <a:pt x="180198" y="53558"/>
                  <a:pt x="182955" y="51004"/>
                </a:cubicBezTo>
                <a:cubicBezTo>
                  <a:pt x="185712" y="48411"/>
                  <a:pt x="188851" y="46192"/>
                  <a:pt x="192372" y="44355"/>
                </a:cubicBezTo>
                <a:cubicBezTo>
                  <a:pt x="195893" y="42518"/>
                  <a:pt x="199742" y="41123"/>
                  <a:pt x="203931" y="40151"/>
                </a:cubicBezTo>
                <a:cubicBezTo>
                  <a:pt x="208172" y="39130"/>
                  <a:pt x="212658" y="38619"/>
                  <a:pt x="217387" y="38619"/>
                </a:cubicBezTo>
                <a:close/>
                <a:moveTo>
                  <a:pt x="299836" y="15666"/>
                </a:moveTo>
                <a:lnTo>
                  <a:pt x="328997" y="15666"/>
                </a:lnTo>
                <a:lnTo>
                  <a:pt x="328997" y="41595"/>
                </a:lnTo>
                <a:lnTo>
                  <a:pt x="354840" y="41595"/>
                </a:lnTo>
                <a:lnTo>
                  <a:pt x="354840" y="64538"/>
                </a:lnTo>
                <a:lnTo>
                  <a:pt x="328997" y="64538"/>
                </a:lnTo>
                <a:lnTo>
                  <a:pt x="328997" y="86706"/>
                </a:lnTo>
                <a:cubicBezTo>
                  <a:pt x="328997" y="89250"/>
                  <a:pt x="329326" y="91371"/>
                  <a:pt x="329983" y="93051"/>
                </a:cubicBezTo>
                <a:cubicBezTo>
                  <a:pt x="330694" y="94740"/>
                  <a:pt x="331691" y="96085"/>
                  <a:pt x="332953" y="97107"/>
                </a:cubicBezTo>
                <a:cubicBezTo>
                  <a:pt x="334225" y="98128"/>
                  <a:pt x="335795" y="98865"/>
                  <a:pt x="337661" y="99327"/>
                </a:cubicBezTo>
                <a:cubicBezTo>
                  <a:pt x="339527" y="99729"/>
                  <a:pt x="341680" y="99936"/>
                  <a:pt x="344098" y="99936"/>
                </a:cubicBezTo>
                <a:cubicBezTo>
                  <a:pt x="345148" y="99936"/>
                  <a:pt x="346134" y="99906"/>
                  <a:pt x="347067" y="99857"/>
                </a:cubicBezTo>
                <a:cubicBezTo>
                  <a:pt x="348064" y="99808"/>
                  <a:pt x="348997" y="99729"/>
                  <a:pt x="349877" y="99631"/>
                </a:cubicBezTo>
                <a:cubicBezTo>
                  <a:pt x="350810" y="99533"/>
                  <a:pt x="351690" y="99425"/>
                  <a:pt x="352518" y="99327"/>
                </a:cubicBezTo>
                <a:cubicBezTo>
                  <a:pt x="353345" y="99169"/>
                  <a:pt x="354087" y="99022"/>
                  <a:pt x="354744" y="98865"/>
                </a:cubicBezTo>
                <a:lnTo>
                  <a:pt x="354744" y="120433"/>
                </a:lnTo>
                <a:cubicBezTo>
                  <a:pt x="353090" y="120787"/>
                  <a:pt x="351447" y="121091"/>
                  <a:pt x="349792" y="121347"/>
                </a:cubicBezTo>
                <a:cubicBezTo>
                  <a:pt x="348191" y="121651"/>
                  <a:pt x="346600" y="121877"/>
                  <a:pt x="344999" y="122034"/>
                </a:cubicBezTo>
                <a:cubicBezTo>
                  <a:pt x="343461" y="122240"/>
                  <a:pt x="341892" y="122398"/>
                  <a:pt x="340291" y="122496"/>
                </a:cubicBezTo>
                <a:cubicBezTo>
                  <a:pt x="338753" y="122604"/>
                  <a:pt x="337216" y="122653"/>
                  <a:pt x="335667" y="122653"/>
                </a:cubicBezTo>
                <a:cubicBezTo>
                  <a:pt x="330439" y="122653"/>
                  <a:pt x="325625" y="122123"/>
                  <a:pt x="321224" y="121042"/>
                </a:cubicBezTo>
                <a:cubicBezTo>
                  <a:pt x="316877" y="119972"/>
                  <a:pt x="313101" y="118243"/>
                  <a:pt x="309910" y="115847"/>
                </a:cubicBezTo>
                <a:cubicBezTo>
                  <a:pt x="306771" y="113401"/>
                  <a:pt x="304289" y="110219"/>
                  <a:pt x="302476" y="106290"/>
                </a:cubicBezTo>
                <a:cubicBezTo>
                  <a:pt x="300716" y="102312"/>
                  <a:pt x="299836" y="97451"/>
                  <a:pt x="299836" y="91685"/>
                </a:cubicBezTo>
                <a:lnTo>
                  <a:pt x="299836" y="64538"/>
                </a:lnTo>
                <a:lnTo>
                  <a:pt x="282498" y="64538"/>
                </a:lnTo>
                <a:lnTo>
                  <a:pt x="282498" y="41595"/>
                </a:lnTo>
                <a:lnTo>
                  <a:pt x="299836" y="41595"/>
                </a:lnTo>
                <a:close/>
                <a:moveTo>
                  <a:pt x="604506" y="3821"/>
                </a:moveTo>
                <a:cubicBezTo>
                  <a:pt x="606097" y="3821"/>
                  <a:pt x="607561" y="4066"/>
                  <a:pt x="608886" y="4548"/>
                </a:cubicBezTo>
                <a:cubicBezTo>
                  <a:pt x="610211" y="5029"/>
                  <a:pt x="611346" y="5707"/>
                  <a:pt x="612311" y="6571"/>
                </a:cubicBezTo>
                <a:cubicBezTo>
                  <a:pt x="613276" y="7435"/>
                  <a:pt x="614029" y="8476"/>
                  <a:pt x="614581" y="9704"/>
                </a:cubicBezTo>
                <a:cubicBezTo>
                  <a:pt x="615132" y="10932"/>
                  <a:pt x="615408" y="12307"/>
                  <a:pt x="615408" y="13839"/>
                </a:cubicBezTo>
                <a:cubicBezTo>
                  <a:pt x="615408" y="15322"/>
                  <a:pt x="615132" y="16658"/>
                  <a:pt x="614581" y="17856"/>
                </a:cubicBezTo>
                <a:cubicBezTo>
                  <a:pt x="614029" y="19054"/>
                  <a:pt x="613276" y="20095"/>
                  <a:pt x="612311" y="20989"/>
                </a:cubicBezTo>
                <a:cubicBezTo>
                  <a:pt x="611346" y="21883"/>
                  <a:pt x="610201" y="22560"/>
                  <a:pt x="608886" y="23012"/>
                </a:cubicBezTo>
                <a:cubicBezTo>
                  <a:pt x="607561" y="23464"/>
                  <a:pt x="606108" y="23700"/>
                  <a:pt x="604506" y="23700"/>
                </a:cubicBezTo>
                <a:cubicBezTo>
                  <a:pt x="602916" y="23700"/>
                  <a:pt x="601442" y="23464"/>
                  <a:pt x="600085" y="23012"/>
                </a:cubicBezTo>
                <a:cubicBezTo>
                  <a:pt x="598738" y="22551"/>
                  <a:pt x="597582" y="21873"/>
                  <a:pt x="596617" y="20989"/>
                </a:cubicBezTo>
                <a:cubicBezTo>
                  <a:pt x="595652" y="20095"/>
                  <a:pt x="594899" y="19054"/>
                  <a:pt x="594347" y="17856"/>
                </a:cubicBezTo>
                <a:cubicBezTo>
                  <a:pt x="593796" y="16658"/>
                  <a:pt x="593520" y="15322"/>
                  <a:pt x="593520" y="13839"/>
                </a:cubicBezTo>
                <a:cubicBezTo>
                  <a:pt x="593520" y="12307"/>
                  <a:pt x="593796" y="10932"/>
                  <a:pt x="594347" y="9704"/>
                </a:cubicBezTo>
                <a:cubicBezTo>
                  <a:pt x="594899" y="8476"/>
                  <a:pt x="595652" y="7435"/>
                  <a:pt x="596617" y="6571"/>
                </a:cubicBezTo>
                <a:cubicBezTo>
                  <a:pt x="597582" y="5707"/>
                  <a:pt x="598738" y="5029"/>
                  <a:pt x="600085" y="4548"/>
                </a:cubicBezTo>
                <a:cubicBezTo>
                  <a:pt x="601431" y="4066"/>
                  <a:pt x="602905" y="3821"/>
                  <a:pt x="604506" y="3821"/>
                </a:cubicBezTo>
                <a:close/>
                <a:moveTo>
                  <a:pt x="561284" y="0"/>
                </a:moveTo>
                <a:cubicBezTo>
                  <a:pt x="563373" y="0"/>
                  <a:pt x="565462" y="79"/>
                  <a:pt x="567561" y="226"/>
                </a:cubicBezTo>
                <a:cubicBezTo>
                  <a:pt x="569650" y="383"/>
                  <a:pt x="571686" y="580"/>
                  <a:pt x="573669" y="835"/>
                </a:cubicBezTo>
                <a:lnTo>
                  <a:pt x="573669" y="13839"/>
                </a:lnTo>
                <a:cubicBezTo>
                  <a:pt x="572683" y="13633"/>
                  <a:pt x="571654" y="13485"/>
                  <a:pt x="570615" y="13377"/>
                </a:cubicBezTo>
                <a:cubicBezTo>
                  <a:pt x="569565" y="13279"/>
                  <a:pt x="568526" y="13181"/>
                  <a:pt x="567476" y="13112"/>
                </a:cubicBezTo>
                <a:cubicBezTo>
                  <a:pt x="566427" y="13034"/>
                  <a:pt x="565398" y="12984"/>
                  <a:pt x="564380" y="12965"/>
                </a:cubicBezTo>
                <a:cubicBezTo>
                  <a:pt x="563362" y="12935"/>
                  <a:pt x="562355" y="12926"/>
                  <a:pt x="561368" y="12926"/>
                </a:cubicBezTo>
                <a:cubicBezTo>
                  <a:pt x="559608" y="12926"/>
                  <a:pt x="557901" y="13034"/>
                  <a:pt x="556247" y="13230"/>
                </a:cubicBezTo>
                <a:cubicBezTo>
                  <a:pt x="554592" y="13436"/>
                  <a:pt x="553055" y="13751"/>
                  <a:pt x="551623" y="14183"/>
                </a:cubicBezTo>
                <a:cubicBezTo>
                  <a:pt x="550191" y="14615"/>
                  <a:pt x="548887" y="15243"/>
                  <a:pt x="547699" y="16059"/>
                </a:cubicBezTo>
                <a:cubicBezTo>
                  <a:pt x="546512" y="16874"/>
                  <a:pt x="545515" y="17866"/>
                  <a:pt x="544688" y="19044"/>
                </a:cubicBezTo>
                <a:cubicBezTo>
                  <a:pt x="543861" y="20223"/>
                  <a:pt x="543203" y="21618"/>
                  <a:pt x="542705" y="23248"/>
                </a:cubicBezTo>
                <a:cubicBezTo>
                  <a:pt x="542207" y="24879"/>
                  <a:pt x="541963" y="26813"/>
                  <a:pt x="541963" y="29063"/>
                </a:cubicBezTo>
                <a:lnTo>
                  <a:pt x="541963" y="41762"/>
                </a:lnTo>
                <a:lnTo>
                  <a:pt x="573669" y="41762"/>
                </a:lnTo>
                <a:lnTo>
                  <a:pt x="573669" y="54913"/>
                </a:lnTo>
                <a:lnTo>
                  <a:pt x="541963" y="54913"/>
                </a:lnTo>
                <a:lnTo>
                  <a:pt x="541963" y="121445"/>
                </a:lnTo>
                <a:lnTo>
                  <a:pt x="525865" y="121445"/>
                </a:lnTo>
                <a:lnTo>
                  <a:pt x="525865" y="54903"/>
                </a:lnTo>
                <a:lnTo>
                  <a:pt x="506131" y="54903"/>
                </a:lnTo>
                <a:lnTo>
                  <a:pt x="506131" y="41752"/>
                </a:lnTo>
                <a:lnTo>
                  <a:pt x="525865" y="41752"/>
                </a:lnTo>
                <a:lnTo>
                  <a:pt x="525865" y="28748"/>
                </a:lnTo>
                <a:cubicBezTo>
                  <a:pt x="525865" y="25085"/>
                  <a:pt x="526311" y="21814"/>
                  <a:pt x="527191" y="18966"/>
                </a:cubicBezTo>
                <a:cubicBezTo>
                  <a:pt x="528071" y="16108"/>
                  <a:pt x="529322" y="13623"/>
                  <a:pt x="530945" y="11511"/>
                </a:cubicBezTo>
                <a:cubicBezTo>
                  <a:pt x="532567" y="9390"/>
                  <a:pt x="534487" y="7602"/>
                  <a:pt x="536682" y="6119"/>
                </a:cubicBezTo>
                <a:cubicBezTo>
                  <a:pt x="538877" y="4636"/>
                  <a:pt x="541295" y="3457"/>
                  <a:pt x="543903" y="2564"/>
                </a:cubicBezTo>
                <a:cubicBezTo>
                  <a:pt x="546522" y="1670"/>
                  <a:pt x="549301" y="1022"/>
                  <a:pt x="552238" y="609"/>
                </a:cubicBezTo>
                <a:cubicBezTo>
                  <a:pt x="555186" y="197"/>
                  <a:pt x="558198" y="0"/>
                  <a:pt x="56128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b">
            <a:noAutofit/>
          </a:bodyPr>
          <a:lstStyle>
            <a:lvl1pPr marL="0" indent="0">
              <a:buNone/>
              <a:defRPr sz="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097CB683-2A73-1043-E1A5-F57E33EE2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5" y="1498600"/>
            <a:ext cx="10801350" cy="276380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09792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A86C2C-B5D8-C78B-F285-B9980A78A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ABBDF6-3720-CE62-A7FD-757019D8D8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2312987"/>
            <a:ext cx="8316913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C243B3E-709A-EF88-BBF0-20ACC3A50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57427-D046-4454-A2D2-2ED776BF6823}" type="datetime1">
              <a:rPr lang="de-DE" smtClean="0"/>
              <a:t>10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6BAD14-B5DD-DBA1-5528-A51908B2F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219A37-D084-7DD6-DA33-10DCBD8DD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4AECEA-F9F5-E15E-4F78-DC80EE9F58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0625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A86C2C-B5D8-C78B-F285-B9980A78A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ABBDF6-3720-CE62-A7FD-757019D8D8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2312987"/>
            <a:ext cx="5040313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C243B3E-709A-EF88-BBF0-20ACC3A50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F1248A-A09C-42D3-B02C-038BE59DAD30}" type="datetime1">
              <a:rPr lang="de-DE" smtClean="0"/>
              <a:t>10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6BAD14-B5DD-DBA1-5528-A51908B2F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219A37-D084-7DD6-DA33-10DCBD8DD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4AECEA-F9F5-E15E-4F78-DC80EE9F58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5801C020-A3EE-6552-A75D-5A3DD4251BF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56362" y="2312987"/>
            <a:ext cx="5040313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51766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 mit Zwischentite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A86C2C-B5D8-C78B-F285-B9980A78A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ABBDF6-3720-CE62-A7FD-757019D8D8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3048000"/>
            <a:ext cx="5040313" cy="31527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C243B3E-709A-EF88-BBF0-20ACC3A50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8A9361-326D-4D07-A0D5-567582335B1A}" type="datetime1">
              <a:rPr lang="de-DE" smtClean="0"/>
              <a:t>10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6BAD14-B5DD-DBA1-5528-A51908B2F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219A37-D084-7DD6-DA33-10DCBD8DD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4AECEA-F9F5-E15E-4F78-DC80EE9F58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5801C020-A3EE-6552-A75D-5A3DD4251BF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56362" y="3048000"/>
            <a:ext cx="5040313" cy="31527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0237DC5-A915-0463-F938-6B28F2DD0C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325" y="2312988"/>
            <a:ext cx="5040313" cy="658811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8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Zwischentitel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C2A1B607-9C72-3161-1342-97EB2C0A25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56363" y="2312988"/>
            <a:ext cx="5040312" cy="658811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8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Zwischentitel</a:t>
            </a:r>
          </a:p>
        </p:txBody>
      </p:sp>
    </p:spTree>
    <p:extLst>
      <p:ext uri="{BB962C8B-B14F-4D97-AF65-F5344CB8AC3E}">
        <p14:creationId xmlns:p14="http://schemas.microsoft.com/office/powerpoint/2010/main" val="19320024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3 Inhalte mit Zwischentite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A86C2C-B5D8-C78B-F285-B9980A78A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ABBDF6-3720-CE62-A7FD-757019D8D8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3048000"/>
            <a:ext cx="3362325" cy="31527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C243B3E-709A-EF88-BBF0-20ACC3A50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2431-C484-4698-A741-E9FBFEB0B50C}" type="datetime1">
              <a:rPr lang="de-DE" smtClean="0"/>
              <a:t>10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6BAD14-B5DD-DBA1-5528-A51908B2F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Zukunftsbild gestal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219A37-D084-7DD6-DA33-10DCBD8DD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7498D-BD66-41E4-84B9-C21AC1B727A1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4AECEA-F9F5-E15E-4F78-DC80EE9F58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298450"/>
            <a:ext cx="8316913" cy="276380"/>
          </a:xfrm>
        </p:spPr>
        <p:txBody>
          <a:bodyPr anchor="b"/>
          <a:lstStyle>
            <a:lvl1pPr marL="0" indent="0">
              <a:buNone/>
              <a:defRPr sz="1400" b="1">
                <a:latin typeface="+mj-lt"/>
              </a:defRPr>
            </a:lvl1pPr>
          </a:lstStyle>
          <a:p>
            <a:pPr lvl="0"/>
            <a:r>
              <a:rPr lang="de-DE" err="1"/>
              <a:t>Toplin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5801C020-A3EE-6552-A75D-5A3DD4251BF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14838" y="3048000"/>
            <a:ext cx="3362325" cy="31527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0237DC5-A915-0463-F938-6B28F2DD0C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325" y="2312988"/>
            <a:ext cx="3362325" cy="658811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8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Zwischentitel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C2A1B607-9C72-3161-1342-97EB2C0A25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14839" y="2312988"/>
            <a:ext cx="3362324" cy="658811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8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Zwischentitel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5AC0E9B2-DA77-1AAF-B7B5-712E5D2AA86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134352" y="3048000"/>
            <a:ext cx="3362325" cy="31527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BC4B15A7-4A5A-5DE1-EA4F-F59322C28A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34353" y="2312988"/>
            <a:ext cx="3362324" cy="658811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800"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/>
              <a:t>Zwischentitel</a:t>
            </a:r>
          </a:p>
        </p:txBody>
      </p:sp>
    </p:spTree>
    <p:extLst>
      <p:ext uri="{BB962C8B-B14F-4D97-AF65-F5344CB8AC3E}">
        <p14:creationId xmlns:p14="http://schemas.microsoft.com/office/powerpoint/2010/main" val="2300622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5DD40A3-5AD3-DCC1-CBF5-5AC1E3DE44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532598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06" imgH="306" progId="TCLayout.ActiveDocument.1">
                  <p:embed/>
                </p:oleObj>
              </mc:Choice>
              <mc:Fallback>
                <p:oleObj name="think-cell Folie" r:id="rId31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DD40A3-5AD3-DCC1-CBF5-5AC1E3DE44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5D6F93D-A441-23E4-A877-D7D14727509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95325" y="692150"/>
            <a:ext cx="8316914" cy="10052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623C6A6-985A-FC7D-DEB2-A3B4B7B7A29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95325" y="2312987"/>
            <a:ext cx="8316913" cy="38877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CC1E41C-384F-77DB-137B-ABB87847AEF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95325" y="6537325"/>
            <a:ext cx="733425" cy="1844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1522B84-4923-4DA6-A416-E7DEBE19FB04}" type="datetime1">
              <a:rPr lang="de-DE" smtClean="0"/>
              <a:t>10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6E920B3-297E-8B86-D2B4-74CBA5EE9B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501141" y="6537325"/>
            <a:ext cx="4234497" cy="18443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Zukunftsbild gestal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FEF5B0-3505-D874-7C3F-2D92A1E7B1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26161" y="6537325"/>
            <a:ext cx="296773" cy="18443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  <a:latin typeface="+mj-lt"/>
              </a:defRPr>
            </a:lvl1pPr>
          </a:lstStyle>
          <a:p>
            <a:fld id="{5DD7498D-BD66-41E4-84B9-C21AC1B727A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2C2F2C95-6A1F-ABE6-0E02-2E307DC72F3D}"/>
              </a:ext>
            </a:extLst>
          </p:cNvPr>
          <p:cNvSpPr>
            <a:spLocks noChangeAspect="1"/>
          </p:cNvSpPr>
          <p:nvPr/>
        </p:nvSpPr>
        <p:spPr bwMode="gray"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tx1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9" name="Ecken des Rechtecks auf der gleichen Seite abrunden 7">
            <a:extLst>
              <a:ext uri="{FF2B5EF4-FFF2-40B4-BE49-F238E27FC236}">
                <a16:creationId xmlns:a16="http://schemas.microsoft.com/office/drawing/2014/main" id="{990D5BA9-EE9F-B576-1BCB-F7DC27384E4B}"/>
              </a:ext>
            </a:extLst>
          </p:cNvPr>
          <p:cNvSpPr/>
          <p:nvPr userDrawn="1"/>
        </p:nvSpPr>
        <p:spPr bwMode="gray">
          <a:xfrm rot="10800000">
            <a:off x="335352" y="0"/>
            <a:ext cx="108000" cy="52920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4000">
                <a:schemeClr val="accent2"/>
              </a:gs>
              <a:gs pos="93000">
                <a:schemeClr val="accent5"/>
              </a:gs>
              <a:gs pos="51000">
                <a:schemeClr val="accent4"/>
              </a:gs>
            </a:gsLst>
            <a:lin ang="168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FFCD9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AF7F3B9-9B41-5116-21F0-45023B9C457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703060"/>
            <a:ext cx="6858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6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lassifizierung: Intern</a:t>
            </a:r>
          </a:p>
        </p:txBody>
      </p:sp>
    </p:spTree>
    <p:extLst>
      <p:ext uri="{BB962C8B-B14F-4D97-AF65-F5344CB8AC3E}">
        <p14:creationId xmlns:p14="http://schemas.microsoft.com/office/powerpoint/2010/main" val="4135411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49" r:id="rId2"/>
    <p:sldLayoutId id="2147483658" r:id="rId3"/>
    <p:sldLayoutId id="2147483662" r:id="rId4"/>
    <p:sldLayoutId id="2147483661" r:id="rId5"/>
    <p:sldLayoutId id="2147483650" r:id="rId6"/>
    <p:sldLayoutId id="2147483657" r:id="rId7"/>
    <p:sldLayoutId id="2147483665" r:id="rId8"/>
    <p:sldLayoutId id="2147483666" r:id="rId9"/>
    <p:sldLayoutId id="2147483663" r:id="rId10"/>
    <p:sldLayoutId id="2147483656" r:id="rId11"/>
    <p:sldLayoutId id="2147483664" r:id="rId12"/>
    <p:sldLayoutId id="2147483667" r:id="rId13"/>
    <p:sldLayoutId id="2147483654" r:id="rId14"/>
    <p:sldLayoutId id="2147483655" r:id="rId15"/>
    <p:sldLayoutId id="2147483660" r:id="rId16"/>
    <p:sldLayoutId id="2147483669" r:id="rId17"/>
    <p:sldLayoutId id="2147483670" r:id="rId18"/>
    <p:sldLayoutId id="2147483668" r:id="rId19"/>
    <p:sldLayoutId id="2147483673" r:id="rId20"/>
    <p:sldLayoutId id="2147483674" r:id="rId21"/>
    <p:sldLayoutId id="2147483675" r:id="rId22"/>
    <p:sldLayoutId id="2147483676" r:id="rId23"/>
    <p:sldLayoutId id="2147483677" r:id="rId24"/>
    <p:sldLayoutId id="2147483678" r:id="rId25"/>
    <p:sldLayoutId id="2147483679" r:id="rId26"/>
    <p:sldLayoutId id="2147483671" r:id="rId27"/>
    <p:sldLayoutId id="2147483672" r:id="rId28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40000"/>
        </a:lnSpc>
        <a:spcBef>
          <a:spcPts val="500"/>
        </a:spcBef>
        <a:buFont typeface="Avenir Next LT Pro" panose="020B05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40000"/>
        </a:lnSpc>
        <a:spcBef>
          <a:spcPts val="500"/>
        </a:spcBef>
        <a:buFont typeface="Avenir Next LT Pro" panose="020B05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40000"/>
        </a:lnSpc>
        <a:spcBef>
          <a:spcPts val="500"/>
        </a:spcBef>
        <a:buFont typeface="Avenir Next LT Pro" panose="020B05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3050" algn="l" defTabSz="914400" rtl="0" eaLnBrk="1" latinLnBrk="0" hangingPunct="1">
        <a:lnSpc>
          <a:spcPct val="140000"/>
        </a:lnSpc>
        <a:spcBef>
          <a:spcPts val="500"/>
        </a:spcBef>
        <a:buFont typeface="Avenir Next LT Pro" panose="020B05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66700" algn="l" defTabSz="914400" rtl="0" eaLnBrk="1" latinLnBrk="0" hangingPunct="1">
        <a:lnSpc>
          <a:spcPct val="140000"/>
        </a:lnSpc>
        <a:spcBef>
          <a:spcPts val="500"/>
        </a:spcBef>
        <a:buFont typeface="Avenir Next LT Pro" panose="020B05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06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613" userDrawn="1">
          <p15:clr>
            <a:srgbClr val="F26B43"/>
          </p15:clr>
        </p15:guide>
        <p15:guide id="4" pos="4067" userDrawn="1">
          <p15:clr>
            <a:srgbClr val="F26B43"/>
          </p15:clr>
        </p15:guide>
        <p15:guide id="5" pos="7242" userDrawn="1">
          <p15:clr>
            <a:srgbClr val="F26B43"/>
          </p15:clr>
        </p15:guide>
        <p15:guide id="6" pos="438" userDrawn="1">
          <p15:clr>
            <a:srgbClr val="F26B43"/>
          </p15:clr>
        </p15:guide>
        <p15:guide id="7" orient="horz" pos="1457" userDrawn="1">
          <p15:clr>
            <a:srgbClr val="F26B43"/>
          </p15:clr>
        </p15:guide>
        <p15:guide id="9" orient="horz" pos="436" userDrawn="1">
          <p15:clr>
            <a:srgbClr val="F26B43"/>
          </p15:clr>
        </p15:guide>
        <p15:guide id="10" orient="horz" pos="1071" userDrawn="1">
          <p15:clr>
            <a:srgbClr val="F26B43"/>
          </p15:clr>
        </p15:guide>
        <p15:guide id="11" pos="567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2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6" Type="http://schemas.openxmlformats.org/officeDocument/2006/relationships/image" Target="../media/image2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image" Target="../media/image2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image" Target="../media/image2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7.xml"/><Relationship Id="rId6" Type="http://schemas.openxmlformats.org/officeDocument/2006/relationships/image" Target="../media/image23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8.xml"/><Relationship Id="rId6" Type="http://schemas.openxmlformats.org/officeDocument/2006/relationships/image" Target="../media/image24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4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9.xml"/><Relationship Id="rId6" Type="http://schemas.openxmlformats.org/officeDocument/2006/relationships/image" Target="../media/image2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.emf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D257575-D36B-7818-F1AD-BD3F889802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408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257575-D36B-7818-F1AD-BD3F88980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A5D9F3-C7B2-C236-9139-3F655584F72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de-DE"/>
              <a:t>Zukunftsbild gestalten</a:t>
            </a:r>
          </a:p>
        </p:txBody>
      </p:sp>
      <p:sp>
        <p:nvSpPr>
          <p:cNvPr id="20" name="Untertitel 19">
            <a:extLst>
              <a:ext uri="{FF2B5EF4-FFF2-40B4-BE49-F238E27FC236}">
                <a16:creationId xmlns:a16="http://schemas.microsoft.com/office/drawing/2014/main" id="{8C9DCB90-2F42-AC7C-4D70-819725D207D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err="1"/>
              <a:t>Sustainability</a:t>
            </a:r>
            <a:r>
              <a:rPr lang="de-DE"/>
              <a:t> Summit </a:t>
            </a:r>
            <a:r>
              <a:rPr lang="de-DE" err="1"/>
              <a:t>Masterclass</a:t>
            </a:r>
            <a:r>
              <a:rPr lang="de-DE"/>
              <a:t> | 25.06.2025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282FBAEB-E32F-9F93-1F44-DAB16C7DC0A7}"/>
              </a:ext>
            </a:extLst>
          </p:cNvPr>
          <p:cNvSpPr txBox="1">
            <a:spLocks/>
          </p:cNvSpPr>
          <p:nvPr/>
        </p:nvSpPr>
        <p:spPr bwMode="gray">
          <a:xfrm>
            <a:off x="5735638" y="3933528"/>
            <a:ext cx="4668837" cy="7386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spcAft>
                <a:spcPts val="1800"/>
              </a:spcAft>
            </a:pPr>
            <a:r>
              <a:rPr lang="de-DE" sz="2400" b="0">
                <a:solidFill>
                  <a:schemeClr val="bg2"/>
                </a:solidFill>
              </a:rPr>
              <a:t>Nachhaltigkeit &amp; Digitalisierung (er)leben im Jahr 2040</a:t>
            </a:r>
            <a:endParaRPr lang="de-DE" b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91788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DFF884-9854-E809-C166-D2B08992B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D96ED7F2-FB35-F148-7B6B-D06B4036EF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6ED7F2-FB35-F148-7B6B-D06B4036E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>
            <a:extLst>
              <a:ext uri="{FF2B5EF4-FFF2-40B4-BE49-F238E27FC236}">
                <a16:creationId xmlns:a16="http://schemas.microsoft.com/office/drawing/2014/main" id="{5BAE2891-95FE-6365-08ED-FBE4A2EC356B}"/>
              </a:ext>
            </a:extLst>
          </p:cNvPr>
          <p:cNvSpPr txBox="1">
            <a:spLocks/>
          </p:cNvSpPr>
          <p:nvPr/>
        </p:nvSpPr>
        <p:spPr>
          <a:xfrm>
            <a:off x="695326" y="2120083"/>
            <a:ext cx="9058274" cy="5539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3600" b="0" noProof="0"/>
              <a:t>und in die Zukunft beamen …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75943256-0C63-4CA3-E540-79329971C3F0}"/>
              </a:ext>
            </a:extLst>
          </p:cNvPr>
          <p:cNvSpPr txBox="1">
            <a:spLocks/>
          </p:cNvSpPr>
          <p:nvPr/>
        </p:nvSpPr>
        <p:spPr>
          <a:xfrm>
            <a:off x="695326" y="1511528"/>
            <a:ext cx="10801350" cy="5539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3600" noProof="0"/>
              <a:t>Lasst uns </a:t>
            </a:r>
            <a:r>
              <a:rPr lang="de-DE" sz="3600" noProof="0">
                <a:gradFill flip="none" rotWithShape="1">
                  <a:gsLst>
                    <a:gs pos="50000">
                      <a:schemeClr val="accent4"/>
                    </a:gs>
                    <a:gs pos="35000">
                      <a:schemeClr val="accent2"/>
                    </a:gs>
                    <a:gs pos="66000">
                      <a:schemeClr val="accent5"/>
                    </a:gs>
                  </a:gsLst>
                  <a:lin ang="0" scaled="1"/>
                  <a:tileRect/>
                </a:gradFill>
              </a:rPr>
              <a:t>2 Minuten </a:t>
            </a:r>
            <a:r>
              <a:rPr lang="de-DE" sz="3600" noProof="0"/>
              <a:t>nehmen</a:t>
            </a:r>
            <a:endParaRPr lang="de-DE" sz="3600" b="0" noProof="0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9802D0F7-2240-EB83-F24B-769B231D8158}"/>
              </a:ext>
            </a:extLst>
          </p:cNvPr>
          <p:cNvSpPr txBox="1">
            <a:spLocks/>
          </p:cNvSpPr>
          <p:nvPr/>
        </p:nvSpPr>
        <p:spPr bwMode="gray">
          <a:xfrm>
            <a:off x="695326" y="3413176"/>
            <a:ext cx="8316913" cy="73866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2400" b="1"/>
              <a:t>Wie sieht ein zukunftsfähiges Unternehmen </a:t>
            </a:r>
            <a:br>
              <a:rPr lang="de-DE" sz="2400" b="1"/>
            </a:br>
            <a:r>
              <a:rPr lang="de-DE" sz="2400" b="1"/>
              <a:t>in 2040 in Deiner Industrie aus?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50932A53-84D8-EAF8-9C79-42074175884A}"/>
              </a:ext>
            </a:extLst>
          </p:cNvPr>
          <p:cNvSpPr txBox="1">
            <a:spLocks/>
          </p:cNvSpPr>
          <p:nvPr/>
        </p:nvSpPr>
        <p:spPr bwMode="gray">
          <a:xfrm>
            <a:off x="12192000" y="3413176"/>
            <a:ext cx="292962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2400"/>
              <a:t>Woher bekommen </a:t>
            </a:r>
            <a:br>
              <a:rPr lang="de-DE" sz="2400"/>
            </a:br>
            <a:r>
              <a:rPr lang="de-DE" sz="2400"/>
              <a:t>wir unsere </a:t>
            </a:r>
            <a:r>
              <a:rPr lang="de-DE" sz="2400" b="1"/>
              <a:t>Energie</a:t>
            </a:r>
            <a:r>
              <a:rPr lang="de-DE" sz="2400"/>
              <a:t>?</a:t>
            </a:r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012A4D66-F487-F9C8-A981-BB1CC78704A0}"/>
              </a:ext>
            </a:extLst>
          </p:cNvPr>
          <p:cNvSpPr txBox="1">
            <a:spLocks/>
          </p:cNvSpPr>
          <p:nvPr/>
        </p:nvSpPr>
        <p:spPr bwMode="gray">
          <a:xfrm>
            <a:off x="15121626" y="3413176"/>
            <a:ext cx="2372999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2400"/>
              <a:t>Wie sieht unsere </a:t>
            </a:r>
            <a:br>
              <a:rPr lang="de-DE" sz="2400"/>
            </a:br>
            <a:r>
              <a:rPr lang="de-DE" sz="2400" b="1"/>
              <a:t>Mobilität</a:t>
            </a:r>
            <a:r>
              <a:rPr lang="de-DE" sz="2400"/>
              <a:t> aus? 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40411271-5163-5BD8-51E1-6FCA6971B961}"/>
              </a:ext>
            </a:extLst>
          </p:cNvPr>
          <p:cNvSpPr txBox="1">
            <a:spLocks/>
          </p:cNvSpPr>
          <p:nvPr/>
        </p:nvSpPr>
        <p:spPr bwMode="gray">
          <a:xfrm>
            <a:off x="15266765" y="4521603"/>
            <a:ext cx="254511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2400"/>
              <a:t>Wie begleitet </a:t>
            </a:r>
            <a:br>
              <a:rPr lang="de-DE" sz="2400"/>
            </a:br>
            <a:r>
              <a:rPr lang="de-DE" sz="2400"/>
              <a:t>uns </a:t>
            </a:r>
            <a:r>
              <a:rPr lang="de-DE" sz="2400" b="1"/>
              <a:t>KI</a:t>
            </a:r>
            <a:r>
              <a:rPr lang="de-DE" sz="2400"/>
              <a:t> im Alltag?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5F682BFA-6D5F-8106-9345-7FD084E65800}"/>
              </a:ext>
            </a:extLst>
          </p:cNvPr>
          <p:cNvSpPr txBox="1">
            <a:spLocks/>
          </p:cNvSpPr>
          <p:nvPr/>
        </p:nvSpPr>
        <p:spPr bwMode="gray">
          <a:xfrm>
            <a:off x="17811882" y="4521603"/>
            <a:ext cx="2677421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2400"/>
              <a:t>Wie pflegen wir </a:t>
            </a:r>
            <a:r>
              <a:rPr lang="de-DE" sz="2400" b="1"/>
              <a:t>soziale Kontakte</a:t>
            </a:r>
            <a:r>
              <a:rPr lang="de-DE" sz="240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8638372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A04D80-D1C4-A87A-4BC1-41EB741A44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EDF4432D-F2DF-FFD8-7B7F-01B6E13110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559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F4432D-F2DF-FFD8-7B7F-01B6E13110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4" name="Grafik 1033">
            <a:extLst>
              <a:ext uri="{FF2B5EF4-FFF2-40B4-BE49-F238E27FC236}">
                <a16:creationId xmlns:a16="http://schemas.microsoft.com/office/drawing/2014/main" id="{205D0206-4D4C-143D-91DF-87A20366988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580" t="62773" b="1"/>
          <a:stretch/>
        </p:blipFill>
        <p:spPr>
          <a:xfrm rot="16200000" flipH="1" flipV="1">
            <a:off x="7422639" y="894047"/>
            <a:ext cx="5663408" cy="3875314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9477BE-2236-FC73-69AE-A2C35B19A2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Welche Kultur lebt ein zukunftsfähiges Unternehmen in 2040?</a:t>
            </a:r>
          </a:p>
        </p:txBody>
      </p:sp>
      <p:sp>
        <p:nvSpPr>
          <p:cNvPr id="25" name="TextBox 10">
            <a:extLst>
              <a:ext uri="{FF2B5EF4-FFF2-40B4-BE49-F238E27FC236}">
                <a16:creationId xmlns:a16="http://schemas.microsoft.com/office/drawing/2014/main" id="{B5EBB83C-509C-7ECD-3F2D-19279AA76C09}"/>
              </a:ext>
            </a:extLst>
          </p:cNvPr>
          <p:cNvSpPr txBox="1">
            <a:spLocks/>
          </p:cNvSpPr>
          <p:nvPr/>
        </p:nvSpPr>
        <p:spPr bwMode="gray">
          <a:xfrm>
            <a:off x="888993" y="2494356"/>
            <a:ext cx="860813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inklusiv</a:t>
            </a:r>
          </a:p>
        </p:txBody>
      </p:sp>
      <p:sp>
        <p:nvSpPr>
          <p:cNvPr id="26" name="TextBox 10">
            <a:extLst>
              <a:ext uri="{FF2B5EF4-FFF2-40B4-BE49-F238E27FC236}">
                <a16:creationId xmlns:a16="http://schemas.microsoft.com/office/drawing/2014/main" id="{9F2E4D37-DF1F-C532-9901-85C4E3998E39}"/>
              </a:ext>
            </a:extLst>
          </p:cNvPr>
          <p:cNvSpPr txBox="1">
            <a:spLocks/>
          </p:cNvSpPr>
          <p:nvPr/>
        </p:nvSpPr>
        <p:spPr bwMode="gray">
          <a:xfrm>
            <a:off x="6256324" y="2078405"/>
            <a:ext cx="426399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agil</a:t>
            </a: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A2430F4F-DF3D-94D4-379E-E239BA7E39E1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5997178" y="2223304"/>
            <a:ext cx="1935082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selbstorganisiert</a:t>
            </a:r>
          </a:p>
        </p:txBody>
      </p:sp>
      <p:sp>
        <p:nvSpPr>
          <p:cNvPr id="32" name="TextBox 10">
            <a:extLst>
              <a:ext uri="{FF2B5EF4-FFF2-40B4-BE49-F238E27FC236}">
                <a16:creationId xmlns:a16="http://schemas.microsoft.com/office/drawing/2014/main" id="{B0B9BA15-01E1-E28C-3113-4106AF00809E}"/>
              </a:ext>
            </a:extLst>
          </p:cNvPr>
          <p:cNvSpPr txBox="1">
            <a:spLocks/>
          </p:cNvSpPr>
          <p:nvPr/>
        </p:nvSpPr>
        <p:spPr bwMode="gray">
          <a:xfrm>
            <a:off x="1667987" y="5438329"/>
            <a:ext cx="2192203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venir Next LT Pro" panose="020B0504020202020204" pitchFamily="34" charset="0"/>
              <a:buNone/>
              <a:tabLst/>
              <a:defRPr sz="2000" b="1"/>
            </a:lvl1pPr>
            <a:lvl2pPr marL="53975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2pPr>
            <a:lvl3pPr marL="80645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3pPr>
            <a:lvl4pPr marL="107950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4pPr>
            <a:lvl5pPr marL="134620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r"/>
            <a:r>
              <a:rPr lang="de-DE" altLang="de-DE" b="0">
                <a:latin typeface="Avenir Next LT Pro" panose="020B0504020202020204" pitchFamily="34" charset="0"/>
              </a:rPr>
              <a:t>innovationsfreudig</a:t>
            </a:r>
          </a:p>
        </p:txBody>
      </p:sp>
      <p:sp>
        <p:nvSpPr>
          <p:cNvPr id="33" name="TextBox 10">
            <a:extLst>
              <a:ext uri="{FF2B5EF4-FFF2-40B4-BE49-F238E27FC236}">
                <a16:creationId xmlns:a16="http://schemas.microsoft.com/office/drawing/2014/main" id="{8ABEFA5D-B246-3705-8E5C-ED8A2A78B3D1}"/>
              </a:ext>
            </a:extLst>
          </p:cNvPr>
          <p:cNvSpPr txBox="1">
            <a:spLocks/>
          </p:cNvSpPr>
          <p:nvPr/>
        </p:nvSpPr>
        <p:spPr bwMode="gray">
          <a:xfrm>
            <a:off x="2391531" y="4985607"/>
            <a:ext cx="2216248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venir Next LT Pro" panose="020B0504020202020204" pitchFamily="34" charset="0"/>
              <a:buNone/>
              <a:tabLst/>
              <a:defRPr sz="2000" b="1"/>
            </a:lvl1pPr>
            <a:lvl2pPr marL="53975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2pPr>
            <a:lvl3pPr marL="80645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3pPr>
            <a:lvl4pPr marL="107950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4pPr>
            <a:lvl5pPr marL="134620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altLang="de-DE" sz="2800">
                <a:latin typeface="Avenir Next LT Pro" panose="020B0504020202020204" pitchFamily="34" charset="0"/>
              </a:rPr>
              <a:t>wertebasiert</a:t>
            </a: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38FC4041-D34D-819E-B6F8-EA85179A4563}"/>
              </a:ext>
            </a:extLst>
          </p:cNvPr>
          <p:cNvSpPr txBox="1">
            <a:spLocks/>
          </p:cNvSpPr>
          <p:nvPr/>
        </p:nvSpPr>
        <p:spPr bwMode="gray">
          <a:xfrm>
            <a:off x="2286725" y="2793865"/>
            <a:ext cx="4432560" cy="67326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4375">
                <a:latin typeface="Avenir Next LT Pro" panose="020B0504020202020204" pitchFamily="34" charset="0"/>
              </a:rPr>
              <a:t>zukunftsorientiert</a:t>
            </a:r>
          </a:p>
        </p:txBody>
      </p:sp>
      <p:sp>
        <p:nvSpPr>
          <p:cNvPr id="24" name="TextBox 10">
            <a:extLst>
              <a:ext uri="{FF2B5EF4-FFF2-40B4-BE49-F238E27FC236}">
                <a16:creationId xmlns:a16="http://schemas.microsoft.com/office/drawing/2014/main" id="{2F3762B5-62BB-5C5F-0434-62815073D04E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1103327" y="3209249"/>
            <a:ext cx="1833835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800" b="1">
                <a:latin typeface="Avenir Next LT Pro" panose="020B0504020202020204" pitchFamily="34" charset="0"/>
              </a:rPr>
              <a:t>nachhaltig</a:t>
            </a: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02FDE78B-627D-C3E1-2B94-27B3052B6353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4489150" y="4516616"/>
            <a:ext cx="1355243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empathisch</a:t>
            </a:r>
          </a:p>
        </p:txBody>
      </p:sp>
      <p:sp>
        <p:nvSpPr>
          <p:cNvPr id="28" name="TextBox 10">
            <a:extLst>
              <a:ext uri="{FF2B5EF4-FFF2-40B4-BE49-F238E27FC236}">
                <a16:creationId xmlns:a16="http://schemas.microsoft.com/office/drawing/2014/main" id="{A890DE9B-6E54-AFE1-A4BA-0F42C15A3388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3088654" y="2195004"/>
            <a:ext cx="917111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resilient</a:t>
            </a:r>
          </a:p>
        </p:txBody>
      </p:sp>
      <p:sp>
        <p:nvSpPr>
          <p:cNvPr id="29" name="TextBox 10">
            <a:extLst>
              <a:ext uri="{FF2B5EF4-FFF2-40B4-BE49-F238E27FC236}">
                <a16:creationId xmlns:a16="http://schemas.microsoft.com/office/drawing/2014/main" id="{28512258-4886-F39B-07A1-52DA9E6A25FF}"/>
              </a:ext>
            </a:extLst>
          </p:cNvPr>
          <p:cNvSpPr txBox="1">
            <a:spLocks/>
          </p:cNvSpPr>
          <p:nvPr/>
        </p:nvSpPr>
        <p:spPr bwMode="gray">
          <a:xfrm>
            <a:off x="2307647" y="4056201"/>
            <a:ext cx="1363515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kollaborativ</a:t>
            </a: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DA4BACB8-E1B0-B842-BB52-E248A02958F6}"/>
              </a:ext>
            </a:extLst>
          </p:cNvPr>
          <p:cNvSpPr txBox="1">
            <a:spLocks/>
          </p:cNvSpPr>
          <p:nvPr/>
        </p:nvSpPr>
        <p:spPr bwMode="gray">
          <a:xfrm>
            <a:off x="728283" y="4290511"/>
            <a:ext cx="2918107" cy="67326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venir Next LT Pro" panose="020B0504020202020204" pitchFamily="34" charset="0"/>
              <a:buNone/>
              <a:tabLst/>
              <a:defRPr sz="3600"/>
            </a:lvl1pPr>
            <a:lvl2pPr marL="53975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2pPr>
            <a:lvl3pPr marL="80645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3pPr>
            <a:lvl4pPr marL="107950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4pPr>
            <a:lvl5pPr marL="134620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altLang="de-DE" sz="4375">
                <a:latin typeface="Avenir Next LT Pro" panose="020B0504020202020204" pitchFamily="34" charset="0"/>
              </a:rPr>
              <a:t>transparent</a:t>
            </a: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C2F2DC2D-AC15-66C5-A382-CF34507CE416}"/>
              </a:ext>
            </a:extLst>
          </p:cNvPr>
          <p:cNvSpPr txBox="1">
            <a:spLocks/>
          </p:cNvSpPr>
          <p:nvPr/>
        </p:nvSpPr>
        <p:spPr bwMode="gray">
          <a:xfrm>
            <a:off x="2935383" y="3719172"/>
            <a:ext cx="735779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digital</a:t>
            </a: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902DC116-44FA-C421-FF68-A841A947DF9C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6300577" y="4409760"/>
            <a:ext cx="1141531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lernbereit</a:t>
            </a:r>
          </a:p>
        </p:txBody>
      </p:sp>
      <p:sp>
        <p:nvSpPr>
          <p:cNvPr id="36" name="TextBox 10">
            <a:extLst>
              <a:ext uri="{FF2B5EF4-FFF2-40B4-BE49-F238E27FC236}">
                <a16:creationId xmlns:a16="http://schemas.microsoft.com/office/drawing/2014/main" id="{637159E4-0359-28BF-BE02-2A19B42AFCD3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6798859" y="4261450"/>
            <a:ext cx="844911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flexibel</a:t>
            </a:r>
          </a:p>
        </p:txBody>
      </p:sp>
      <p:sp>
        <p:nvSpPr>
          <p:cNvPr id="37" name="TextBox 10">
            <a:extLst>
              <a:ext uri="{FF2B5EF4-FFF2-40B4-BE49-F238E27FC236}">
                <a16:creationId xmlns:a16="http://schemas.microsoft.com/office/drawing/2014/main" id="{B926E495-825A-5190-14D4-3844F21A4C13}"/>
              </a:ext>
            </a:extLst>
          </p:cNvPr>
          <p:cNvSpPr txBox="1">
            <a:spLocks/>
          </p:cNvSpPr>
          <p:nvPr/>
        </p:nvSpPr>
        <p:spPr bwMode="gray">
          <a:xfrm>
            <a:off x="1664781" y="1789269"/>
            <a:ext cx="1348190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sinnstiftend</a:t>
            </a:r>
          </a:p>
        </p:txBody>
      </p:sp>
      <p:sp>
        <p:nvSpPr>
          <p:cNvPr id="38" name="TextBox 10">
            <a:extLst>
              <a:ext uri="{FF2B5EF4-FFF2-40B4-BE49-F238E27FC236}">
                <a16:creationId xmlns:a16="http://schemas.microsoft.com/office/drawing/2014/main" id="{F7969A54-CC2F-207E-7E3C-C7ABB3FC8549}"/>
              </a:ext>
            </a:extLst>
          </p:cNvPr>
          <p:cNvSpPr txBox="1">
            <a:spLocks/>
          </p:cNvSpPr>
          <p:nvPr/>
        </p:nvSpPr>
        <p:spPr bwMode="gray">
          <a:xfrm>
            <a:off x="7577003" y="3148932"/>
            <a:ext cx="598112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offen</a:t>
            </a:r>
          </a:p>
        </p:txBody>
      </p:sp>
      <p:sp>
        <p:nvSpPr>
          <p:cNvPr id="39" name="TextBox 10">
            <a:extLst>
              <a:ext uri="{FF2B5EF4-FFF2-40B4-BE49-F238E27FC236}">
                <a16:creationId xmlns:a16="http://schemas.microsoft.com/office/drawing/2014/main" id="{772CCF2D-5F95-230B-54D9-205E02CD65A9}"/>
              </a:ext>
            </a:extLst>
          </p:cNvPr>
          <p:cNvSpPr txBox="1">
            <a:spLocks/>
          </p:cNvSpPr>
          <p:nvPr/>
        </p:nvSpPr>
        <p:spPr bwMode="gray">
          <a:xfrm>
            <a:off x="4454115" y="3382452"/>
            <a:ext cx="4224683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venir Next LT Pro" panose="020B0504020202020204" pitchFamily="34" charset="0"/>
              <a:buNone/>
              <a:tabLst/>
              <a:defRPr sz="2000" b="1"/>
            </a:lvl1pPr>
            <a:lvl2pPr marL="53975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2pPr>
            <a:lvl3pPr marL="80645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3pPr>
            <a:lvl4pPr marL="107950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4pPr>
            <a:lvl5pPr marL="134620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altLang="de-DE" sz="2800">
                <a:latin typeface="Avenir Next LT Pro" panose="020B0504020202020204" pitchFamily="34" charset="0"/>
              </a:rPr>
              <a:t>verantwortungsbewusst</a:t>
            </a:r>
          </a:p>
        </p:txBody>
      </p:sp>
      <p:sp>
        <p:nvSpPr>
          <p:cNvPr id="40" name="TextBox 10">
            <a:extLst>
              <a:ext uri="{FF2B5EF4-FFF2-40B4-BE49-F238E27FC236}">
                <a16:creationId xmlns:a16="http://schemas.microsoft.com/office/drawing/2014/main" id="{1F8F9EE6-FE61-521A-1F20-88D8ADC30A26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6944879" y="4652586"/>
            <a:ext cx="1447512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venir Next LT Pro" panose="020B0504020202020204" pitchFamily="34" charset="0"/>
              <a:buNone/>
              <a:tabLst/>
              <a:defRPr sz="2000" b="1"/>
            </a:lvl1pPr>
            <a:lvl2pPr marL="53975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2pPr>
            <a:lvl3pPr marL="80645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3pPr>
            <a:lvl4pPr marL="107950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4pPr>
            <a:lvl5pPr marL="134620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altLang="de-DE" sz="2800">
                <a:latin typeface="Avenir Next LT Pro" panose="020B0504020202020204" pitchFamily="34" charset="0"/>
              </a:rPr>
              <a:t>vernetzt</a:t>
            </a:r>
          </a:p>
        </p:txBody>
      </p:sp>
      <p:sp>
        <p:nvSpPr>
          <p:cNvPr id="41" name="TextBox 10">
            <a:extLst>
              <a:ext uri="{FF2B5EF4-FFF2-40B4-BE49-F238E27FC236}">
                <a16:creationId xmlns:a16="http://schemas.microsoft.com/office/drawing/2014/main" id="{2ADD0E6F-2F3C-E3BF-BBC1-98DFA5020548}"/>
              </a:ext>
            </a:extLst>
          </p:cNvPr>
          <p:cNvSpPr txBox="1">
            <a:spLocks/>
          </p:cNvSpPr>
          <p:nvPr/>
        </p:nvSpPr>
        <p:spPr bwMode="gray">
          <a:xfrm>
            <a:off x="5905562" y="5072268"/>
            <a:ext cx="1543692" cy="67326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venir Next LT Pro" panose="020B0504020202020204" pitchFamily="34" charset="0"/>
              <a:buNone/>
              <a:tabLst/>
              <a:defRPr sz="3600"/>
            </a:lvl1pPr>
            <a:lvl2pPr marL="53975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2pPr>
            <a:lvl3pPr marL="80645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3pPr>
            <a:lvl4pPr marL="107950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4pPr>
            <a:lvl5pPr marL="134620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altLang="de-DE" sz="4375">
                <a:latin typeface="Avenir Next LT Pro" panose="020B0504020202020204" pitchFamily="34" charset="0"/>
              </a:rPr>
              <a:t>divers</a:t>
            </a:r>
          </a:p>
        </p:txBody>
      </p:sp>
      <p:sp>
        <p:nvSpPr>
          <p:cNvPr id="43" name="TextBox 10">
            <a:extLst>
              <a:ext uri="{FF2B5EF4-FFF2-40B4-BE49-F238E27FC236}">
                <a16:creationId xmlns:a16="http://schemas.microsoft.com/office/drawing/2014/main" id="{BE465B6E-2E99-3FAF-A37C-493267652305}"/>
              </a:ext>
            </a:extLst>
          </p:cNvPr>
          <p:cNvSpPr txBox="1">
            <a:spLocks/>
          </p:cNvSpPr>
          <p:nvPr/>
        </p:nvSpPr>
        <p:spPr bwMode="gray">
          <a:xfrm>
            <a:off x="740768" y="4995786"/>
            <a:ext cx="729367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fleißig</a:t>
            </a:r>
          </a:p>
        </p:txBody>
      </p:sp>
      <p:sp>
        <p:nvSpPr>
          <p:cNvPr id="42" name="TextBox 10">
            <a:extLst>
              <a:ext uri="{FF2B5EF4-FFF2-40B4-BE49-F238E27FC236}">
                <a16:creationId xmlns:a16="http://schemas.microsoft.com/office/drawing/2014/main" id="{DE62A4AE-059C-0A8B-7909-DBFC49B9FA52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4461078" y="4809805"/>
            <a:ext cx="768865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kreativ</a:t>
            </a:r>
          </a:p>
        </p:txBody>
      </p:sp>
      <p:sp>
        <p:nvSpPr>
          <p:cNvPr id="44" name="TextBox 10">
            <a:extLst>
              <a:ext uri="{FF2B5EF4-FFF2-40B4-BE49-F238E27FC236}">
                <a16:creationId xmlns:a16="http://schemas.microsoft.com/office/drawing/2014/main" id="{982BEE7C-BB86-6382-2AAB-F367366FA09F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2695511" y="2141743"/>
            <a:ext cx="1035605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motiviert</a:t>
            </a:r>
          </a:p>
        </p:txBody>
      </p:sp>
      <p:sp>
        <p:nvSpPr>
          <p:cNvPr id="45" name="TextBox 10">
            <a:extLst>
              <a:ext uri="{FF2B5EF4-FFF2-40B4-BE49-F238E27FC236}">
                <a16:creationId xmlns:a16="http://schemas.microsoft.com/office/drawing/2014/main" id="{138D079E-7114-E5B4-7EC2-582E8C079417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4851543" y="4557748"/>
            <a:ext cx="1272977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000">
                <a:latin typeface="Avenir Next LT Pro" panose="020B0504020202020204" pitchFamily="34" charset="0"/>
              </a:rPr>
              <a:t>erfolgreich</a:t>
            </a:r>
            <a:endParaRPr lang="de-DE" altLang="de-DE" sz="2000">
              <a:latin typeface="Avenir Next LT Pro" panose="020B0504020202020204" pitchFamily="34" charset="0"/>
            </a:endParaRPr>
          </a:p>
        </p:txBody>
      </p:sp>
      <p:sp>
        <p:nvSpPr>
          <p:cNvPr id="46" name="TextBox 10">
            <a:extLst>
              <a:ext uri="{FF2B5EF4-FFF2-40B4-BE49-F238E27FC236}">
                <a16:creationId xmlns:a16="http://schemas.microsoft.com/office/drawing/2014/main" id="{DB2AD326-5654-BC66-0ABD-7507BB8AEE45}"/>
              </a:ext>
            </a:extLst>
          </p:cNvPr>
          <p:cNvSpPr txBox="1">
            <a:spLocks/>
          </p:cNvSpPr>
          <p:nvPr/>
        </p:nvSpPr>
        <p:spPr bwMode="gray">
          <a:xfrm>
            <a:off x="5060730" y="1608313"/>
            <a:ext cx="1649491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venir Next LT Pro" panose="020B0504020202020204" pitchFamily="34" charset="0"/>
              <a:buNone/>
              <a:tabLst/>
              <a:defRPr sz="2000" b="1"/>
            </a:lvl1pPr>
            <a:lvl2pPr marL="53975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2pPr>
            <a:lvl3pPr marL="80645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3pPr>
            <a:lvl4pPr marL="107950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4pPr>
            <a:lvl5pPr marL="134620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2800">
                <a:latin typeface="Avenir Next LT Pro" panose="020B0504020202020204" pitchFamily="34" charset="0"/>
              </a:rPr>
              <a:t>belastbar</a:t>
            </a:r>
            <a:endParaRPr lang="de-DE" altLang="de-DE" sz="2800">
              <a:latin typeface="Avenir Next LT Pro" panose="020B0504020202020204" pitchFamily="34" charset="0"/>
            </a:endParaRPr>
          </a:p>
        </p:txBody>
      </p:sp>
      <p:sp>
        <p:nvSpPr>
          <p:cNvPr id="47" name="TextBox 10">
            <a:extLst>
              <a:ext uri="{FF2B5EF4-FFF2-40B4-BE49-F238E27FC236}">
                <a16:creationId xmlns:a16="http://schemas.microsoft.com/office/drawing/2014/main" id="{469F29B1-1F4F-93B1-7F00-BFE2E871C971}"/>
              </a:ext>
            </a:extLst>
          </p:cNvPr>
          <p:cNvSpPr txBox="1">
            <a:spLocks/>
          </p:cNvSpPr>
          <p:nvPr/>
        </p:nvSpPr>
        <p:spPr bwMode="gray">
          <a:xfrm>
            <a:off x="5546129" y="2531365"/>
            <a:ext cx="1136593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000">
                <a:latin typeface="Avenir Next LT Pro" panose="020B0504020202020204" pitchFamily="34" charset="0"/>
              </a:rPr>
              <a:t>engagiert</a:t>
            </a:r>
            <a:endParaRPr lang="de-DE" altLang="de-DE" sz="2000">
              <a:latin typeface="Avenir Next LT Pro" panose="020B0504020202020204" pitchFamily="34" charset="0"/>
            </a:endParaRPr>
          </a:p>
        </p:txBody>
      </p:sp>
      <p:sp>
        <p:nvSpPr>
          <p:cNvPr id="48" name="TextBox 10">
            <a:extLst>
              <a:ext uri="{FF2B5EF4-FFF2-40B4-BE49-F238E27FC236}">
                <a16:creationId xmlns:a16="http://schemas.microsoft.com/office/drawing/2014/main" id="{59860AC2-82B7-A275-67D6-AA6FA46DA9EE}"/>
              </a:ext>
            </a:extLst>
          </p:cNvPr>
          <p:cNvSpPr txBox="1">
            <a:spLocks/>
          </p:cNvSpPr>
          <p:nvPr/>
        </p:nvSpPr>
        <p:spPr bwMode="gray">
          <a:xfrm>
            <a:off x="4505952" y="2078405"/>
            <a:ext cx="1255152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dynamisch</a:t>
            </a:r>
          </a:p>
        </p:txBody>
      </p:sp>
      <p:sp>
        <p:nvSpPr>
          <p:cNvPr id="3" name="TextBox 10">
            <a:extLst>
              <a:ext uri="{FF2B5EF4-FFF2-40B4-BE49-F238E27FC236}">
                <a16:creationId xmlns:a16="http://schemas.microsoft.com/office/drawing/2014/main" id="{E81C4BCF-4C12-DD47-8D99-174980DE7D7C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6620823" y="1967528"/>
            <a:ext cx="1423531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ambitioniert</a:t>
            </a:r>
          </a:p>
        </p:txBody>
      </p:sp>
      <p:sp>
        <p:nvSpPr>
          <p:cNvPr id="4" name="TextBox 10">
            <a:extLst>
              <a:ext uri="{FF2B5EF4-FFF2-40B4-BE49-F238E27FC236}">
                <a16:creationId xmlns:a16="http://schemas.microsoft.com/office/drawing/2014/main" id="{0D8AB169-EAB4-A6A1-C947-7FEB31A18F63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7245109" y="1711112"/>
            <a:ext cx="910699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effizient</a:t>
            </a:r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5AC0F3E1-B1C3-5748-61C3-3117C271A267}"/>
              </a:ext>
            </a:extLst>
          </p:cNvPr>
          <p:cNvSpPr txBox="1">
            <a:spLocks/>
          </p:cNvSpPr>
          <p:nvPr/>
        </p:nvSpPr>
        <p:spPr bwMode="gray">
          <a:xfrm>
            <a:off x="2051078" y="2065368"/>
            <a:ext cx="956993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venir Next LT Pro" panose="020B0504020202020204" pitchFamily="34" charset="0"/>
              <a:buNone/>
              <a:tabLst/>
              <a:defRPr sz="2000" b="1"/>
            </a:lvl1pPr>
            <a:lvl2pPr marL="53975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2pPr>
            <a:lvl3pPr marL="80645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3pPr>
            <a:lvl4pPr marL="1079500" indent="-27305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4pPr>
            <a:lvl5pPr marL="1346200" indent="-266700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altLang="de-DE" sz="2800">
                <a:latin typeface="Avenir Next LT Pro" panose="020B0504020202020204" pitchFamily="34" charset="0"/>
              </a:rPr>
              <a:t>stabil</a:t>
            </a:r>
          </a:p>
        </p:txBody>
      </p:sp>
      <p:sp>
        <p:nvSpPr>
          <p:cNvPr id="6" name="TextBox 10">
            <a:extLst>
              <a:ext uri="{FF2B5EF4-FFF2-40B4-BE49-F238E27FC236}">
                <a16:creationId xmlns:a16="http://schemas.microsoft.com/office/drawing/2014/main" id="{17A31104-60D7-199C-9409-1BF0FB1B1171}"/>
              </a:ext>
            </a:extLst>
          </p:cNvPr>
          <p:cNvSpPr txBox="1">
            <a:spLocks/>
          </p:cNvSpPr>
          <p:nvPr/>
        </p:nvSpPr>
        <p:spPr bwMode="gray">
          <a:xfrm>
            <a:off x="4833350" y="5673461"/>
            <a:ext cx="2116028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altLang="de-DE" sz="2000">
                <a:latin typeface="Avenir Next LT Pro" panose="020B0504020202020204" pitchFamily="34" charset="0"/>
              </a:rPr>
              <a:t>leistungsorientiert</a:t>
            </a:r>
          </a:p>
        </p:txBody>
      </p:sp>
    </p:spTree>
    <p:extLst>
      <p:ext uri="{BB962C8B-B14F-4D97-AF65-F5344CB8AC3E}">
        <p14:creationId xmlns:p14="http://schemas.microsoft.com/office/powerpoint/2010/main" val="204277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31" grpId="0"/>
      <p:bldP spid="32" grpId="0"/>
      <p:bldP spid="33" grpId="0"/>
      <p:bldP spid="23" grpId="0"/>
      <p:bldP spid="24" grpId="0"/>
      <p:bldP spid="27" grpId="0"/>
      <p:bldP spid="28" grpId="0"/>
      <p:bldP spid="29" grpId="0"/>
      <p:bldP spid="30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41" grpId="0"/>
      <p:bldP spid="43" grpId="0"/>
      <p:bldP spid="42" grpId="0"/>
      <p:bldP spid="44" grpId="0"/>
      <p:bldP spid="45" grpId="0"/>
      <p:bldP spid="46" grpId="0"/>
      <p:bldP spid="47" grpId="0"/>
      <p:bldP spid="48" grpId="0"/>
      <p:bldP spid="3" grpId="0"/>
      <p:bldP spid="4" grpId="0"/>
      <p:bldP spid="5" grpId="0"/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ACBF73-85B6-BBA2-B0CD-C4B5A555C6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C23E791C-645E-A594-3C0E-36DC5C8A47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9341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3E791C-645E-A594-3C0E-36DC5C8A47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00ADFB6C-F245-8BAE-8D40-F8B4D72E1146}"/>
              </a:ext>
            </a:extLst>
          </p:cNvPr>
          <p:cNvSpPr txBox="1">
            <a:spLocks/>
          </p:cNvSpPr>
          <p:nvPr/>
        </p:nvSpPr>
        <p:spPr bwMode="gray">
          <a:xfrm>
            <a:off x="5402321" y="3623677"/>
            <a:ext cx="4351277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1600"/>
              <a:t>Welche Themen stehen im Fokus?</a:t>
            </a:r>
          </a:p>
        </p:txBody>
      </p: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FE0DE63D-0FD5-6B57-4B12-BB83D1A688A7}"/>
              </a:ext>
            </a:extLst>
          </p:cNvPr>
          <p:cNvSpPr txBox="1">
            <a:spLocks/>
          </p:cNvSpPr>
          <p:nvPr/>
        </p:nvSpPr>
        <p:spPr bwMode="gray">
          <a:xfrm>
            <a:off x="5402321" y="4034509"/>
            <a:ext cx="4351277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1600"/>
              <a:t>Wie wirkt die Digitalisierung?</a:t>
            </a:r>
          </a:p>
        </p:txBody>
      </p:sp>
      <p:sp>
        <p:nvSpPr>
          <p:cNvPr id="47" name="Textplatzhalter 7">
            <a:extLst>
              <a:ext uri="{FF2B5EF4-FFF2-40B4-BE49-F238E27FC236}">
                <a16:creationId xmlns:a16="http://schemas.microsoft.com/office/drawing/2014/main" id="{5DAE40F0-487C-92C9-D557-B03617606F80}"/>
              </a:ext>
            </a:extLst>
          </p:cNvPr>
          <p:cNvSpPr txBox="1">
            <a:spLocks/>
          </p:cNvSpPr>
          <p:nvPr/>
        </p:nvSpPr>
        <p:spPr bwMode="gray">
          <a:xfrm>
            <a:off x="5402321" y="4445341"/>
            <a:ext cx="4351277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1600"/>
              <a:t>Wie wird Nachhaltigkeit gelebt?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E6EE005-76B1-AEE4-58FB-711C843AB479}"/>
              </a:ext>
            </a:extLst>
          </p:cNvPr>
          <p:cNvSpPr/>
          <p:nvPr/>
        </p:nvSpPr>
        <p:spPr>
          <a:xfrm>
            <a:off x="0" y="3257550"/>
            <a:ext cx="5060182" cy="18630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err="1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506FA1F3-C7EF-585D-8AA8-93264B30030E}"/>
              </a:ext>
            </a:extLst>
          </p:cNvPr>
          <p:cNvSpPr txBox="1">
            <a:spLocks/>
          </p:cNvSpPr>
          <p:nvPr/>
        </p:nvSpPr>
        <p:spPr>
          <a:xfrm>
            <a:off x="695326" y="2120083"/>
            <a:ext cx="9058274" cy="5539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3600" b="0" noProof="0"/>
              <a:t>Nachhaltigkeit &amp; Digitalisierung in 2040?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A931774-580F-8C7E-B308-801C112C12F9}"/>
              </a:ext>
            </a:extLst>
          </p:cNvPr>
          <p:cNvSpPr txBox="1">
            <a:spLocks/>
          </p:cNvSpPr>
          <p:nvPr/>
        </p:nvSpPr>
        <p:spPr>
          <a:xfrm>
            <a:off x="695326" y="1511528"/>
            <a:ext cx="10801350" cy="5539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3600" noProof="0"/>
              <a:t>Wie lebt ein </a:t>
            </a:r>
            <a:r>
              <a:rPr lang="de-DE" sz="3600" noProof="0">
                <a:gradFill flip="none" rotWithShape="1">
                  <a:gsLst>
                    <a:gs pos="50000">
                      <a:schemeClr val="accent4"/>
                    </a:gs>
                    <a:gs pos="35000">
                      <a:schemeClr val="accent2"/>
                    </a:gs>
                    <a:gs pos="85000">
                      <a:schemeClr val="accent5"/>
                    </a:gs>
                  </a:gsLst>
                  <a:lin ang="0" scaled="1"/>
                  <a:tileRect/>
                </a:gradFill>
              </a:rPr>
              <a:t>zukunftsfähiges Unternehmen</a:t>
            </a:r>
            <a:endParaRPr lang="de-DE" sz="3600" b="0" noProof="0">
              <a:gradFill flip="none" rotWithShape="1">
                <a:gsLst>
                  <a:gs pos="50000">
                    <a:schemeClr val="accent4"/>
                  </a:gs>
                  <a:gs pos="35000">
                    <a:schemeClr val="accent2"/>
                  </a:gs>
                  <a:gs pos="85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7EDE0DCA-C1C7-A4AE-336B-8CA2B1A0E15A}"/>
              </a:ext>
            </a:extLst>
          </p:cNvPr>
          <p:cNvSpPr txBox="1">
            <a:spLocks/>
          </p:cNvSpPr>
          <p:nvPr/>
        </p:nvSpPr>
        <p:spPr>
          <a:xfrm>
            <a:off x="1317624" y="3413176"/>
            <a:ext cx="2930525" cy="369332"/>
          </a:xfrm>
          <a:prstGeom prst="rect">
            <a:avLst/>
          </a:prstGeom>
        </p:spPr>
        <p:txBody>
          <a:bodyPr vert="horz"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2400" b="0"/>
              <a:t>Human </a:t>
            </a:r>
            <a:r>
              <a:rPr lang="de-DE" sz="2400" b="0" err="1"/>
              <a:t>Ressources</a:t>
            </a:r>
            <a:endParaRPr lang="de-DE" sz="2400" b="0" noProof="0"/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BD7FB154-2617-5400-5D37-F9A807FCB66F}"/>
              </a:ext>
            </a:extLst>
          </p:cNvPr>
          <p:cNvSpPr txBox="1">
            <a:spLocks/>
          </p:cNvSpPr>
          <p:nvPr/>
        </p:nvSpPr>
        <p:spPr>
          <a:xfrm>
            <a:off x="1317624" y="3972953"/>
            <a:ext cx="2930525" cy="369332"/>
          </a:xfrm>
          <a:prstGeom prst="rect">
            <a:avLst/>
          </a:prstGeom>
        </p:spPr>
        <p:txBody>
          <a:bodyPr vert="horz"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2400" b="0"/>
              <a:t>IT</a:t>
            </a:r>
            <a:endParaRPr lang="de-DE" sz="2400" b="0" noProof="0"/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941B03B0-A49F-3B8B-A9A1-F7A02077E0AC}"/>
              </a:ext>
            </a:extLst>
          </p:cNvPr>
          <p:cNvSpPr txBox="1">
            <a:spLocks/>
          </p:cNvSpPr>
          <p:nvPr/>
        </p:nvSpPr>
        <p:spPr>
          <a:xfrm>
            <a:off x="1317624" y="4532730"/>
            <a:ext cx="2930525" cy="369332"/>
          </a:xfrm>
          <a:prstGeom prst="rect">
            <a:avLst/>
          </a:prstGeom>
        </p:spPr>
        <p:txBody>
          <a:bodyPr vert="horz"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2400" b="0"/>
              <a:t>Business</a:t>
            </a:r>
            <a:endParaRPr lang="de-DE" sz="2400" b="0" noProof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D621D6C-0D8A-9A13-F605-32639A0E418D}"/>
              </a:ext>
            </a:extLst>
          </p:cNvPr>
          <p:cNvCxnSpPr>
            <a:cxnSpLocks/>
          </p:cNvCxnSpPr>
          <p:nvPr/>
        </p:nvCxnSpPr>
        <p:spPr>
          <a:xfrm>
            <a:off x="695325" y="3597842"/>
            <a:ext cx="384175" cy="0"/>
          </a:xfrm>
          <a:prstGeom prst="line">
            <a:avLst/>
          </a:prstGeom>
          <a:ln w="38100" cap="rnd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EB660B83-A88A-896F-DAEC-B87FB4088515}"/>
              </a:ext>
            </a:extLst>
          </p:cNvPr>
          <p:cNvCxnSpPr>
            <a:cxnSpLocks/>
          </p:cNvCxnSpPr>
          <p:nvPr/>
        </p:nvCxnSpPr>
        <p:spPr>
          <a:xfrm>
            <a:off x="695325" y="4157619"/>
            <a:ext cx="384175" cy="0"/>
          </a:xfrm>
          <a:prstGeom prst="line">
            <a:avLst/>
          </a:prstGeom>
          <a:ln w="38100" cap="rnd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B69A0E9E-36F2-4458-1EA9-ECCC9875E226}"/>
              </a:ext>
            </a:extLst>
          </p:cNvPr>
          <p:cNvCxnSpPr>
            <a:cxnSpLocks/>
          </p:cNvCxnSpPr>
          <p:nvPr/>
        </p:nvCxnSpPr>
        <p:spPr>
          <a:xfrm>
            <a:off x="695325" y="4717396"/>
            <a:ext cx="384175" cy="0"/>
          </a:xfrm>
          <a:prstGeom prst="line">
            <a:avLst/>
          </a:prstGeom>
          <a:ln w="38100" cap="rnd">
            <a:solidFill>
              <a:schemeClr val="accent5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FD376825-14A9-3F20-C5BC-81950FE7C349}"/>
              </a:ext>
            </a:extLst>
          </p:cNvPr>
          <p:cNvCxnSpPr>
            <a:cxnSpLocks/>
          </p:cNvCxnSpPr>
          <p:nvPr/>
        </p:nvCxnSpPr>
        <p:spPr>
          <a:xfrm>
            <a:off x="5060182" y="3413176"/>
            <a:ext cx="0" cy="1488886"/>
          </a:xfrm>
          <a:prstGeom prst="line">
            <a:avLst/>
          </a:prstGeom>
          <a:ln w="38100" cap="rnd">
            <a:solidFill>
              <a:schemeClr val="tx1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268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5185E-6 L 0 0.0386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7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76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79167E-6 -3.33333E-6 L -0.05572 0.0007 " pathEditMode="relative" rAng="0" ptsTypes="AA">
                                      <p:cBhvr>
                                        <p:cTn id="19" dur="75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86" y="23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01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79167E-6 -3.33333E-6 L -0.05572 0.0007 " pathEditMode="relative" rAng="0" ptsTypes="AA">
                                      <p:cBhvr>
                                        <p:cTn id="28" dur="75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86" y="23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26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79167E-6 -3.33333E-6 L -0.05572 0.0007 " pathEditMode="relative" rAng="0" ptsTypes="AA">
                                      <p:cBhvr>
                                        <p:cTn id="37" dur="750" spd="-100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86" y="23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42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3" dur="7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1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1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1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1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6" grpId="0"/>
      <p:bldP spid="47" grpId="0"/>
      <p:bldP spid="10" grpId="0"/>
      <p:bldP spid="11" grpId="0"/>
      <p:bldP spid="11" grpId="1"/>
      <p:bldP spid="23" grpId="0"/>
      <p:bldP spid="34" grpId="0"/>
      <p:bldP spid="3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4C9970-C030-7F8A-CB5D-327A13453B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08DDC4A-E8EE-1542-F5C4-B4AA7294BB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963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8DDC4A-E8EE-1542-F5C4-B4AA7294BB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Grafik 46">
            <a:extLst>
              <a:ext uri="{FF2B5EF4-FFF2-40B4-BE49-F238E27FC236}">
                <a16:creationId xmlns:a16="http://schemas.microsoft.com/office/drawing/2014/main" id="{A35A8278-14D7-9E6D-8D72-6046F46EBC9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580" t="62773" b="1"/>
          <a:stretch/>
        </p:blipFill>
        <p:spPr>
          <a:xfrm rot="16200000" flipH="1" flipV="1">
            <a:off x="7422639" y="894047"/>
            <a:ext cx="5663408" cy="3875314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A8DC720-31D2-9908-04E9-87C6CED337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Wie sieht eine zukunftsfähige HR in 2040 aus?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01FF2B8-9CE5-4725-7A91-693AB0446C1F}"/>
              </a:ext>
            </a:extLst>
          </p:cNvPr>
          <p:cNvSpPr>
            <a:spLocks/>
          </p:cNvSpPr>
          <p:nvPr/>
        </p:nvSpPr>
        <p:spPr>
          <a:xfrm>
            <a:off x="6456361" y="2312988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 err="1">
                <a:solidFill>
                  <a:schemeClr val="bg2"/>
                </a:solidFill>
              </a:rPr>
              <a:t>Skill-Orchestrator</a:t>
            </a:r>
            <a:endParaRPr lang="en-US" sz="1600" b="1" err="1">
              <a:solidFill>
                <a:schemeClr val="bg2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81CF318-4D2B-64CC-9952-A1606E39C77C}"/>
              </a:ext>
            </a:extLst>
          </p:cNvPr>
          <p:cNvSpPr>
            <a:spLocks/>
          </p:cNvSpPr>
          <p:nvPr/>
        </p:nvSpPr>
        <p:spPr>
          <a:xfrm>
            <a:off x="6456361" y="3632933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Integrationsarchitekt</a:t>
            </a:r>
          </a:p>
          <a:p>
            <a:pPr algn="ctr"/>
            <a:r>
              <a:rPr lang="de-DE" sz="1200">
                <a:solidFill>
                  <a:schemeClr val="bg2"/>
                </a:solidFill>
              </a:rPr>
              <a:t>einer inklusiven, wertschätzenden Arbeitskultu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435A365-6367-D11F-0149-FE5B0826CDCB}"/>
              </a:ext>
            </a:extLst>
          </p:cNvPr>
          <p:cNvSpPr>
            <a:spLocks/>
          </p:cNvSpPr>
          <p:nvPr/>
        </p:nvSpPr>
        <p:spPr>
          <a:xfrm>
            <a:off x="6456361" y="4952862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Plattformgestalter </a:t>
            </a:r>
            <a:endParaRPr lang="en-US" sz="1200">
              <a:solidFill>
                <a:schemeClr val="bg2"/>
              </a:solidFill>
            </a:endParaRPr>
          </a:p>
          <a:p>
            <a:pPr algn="ctr"/>
            <a:r>
              <a:rPr lang="de-DE" sz="1200">
                <a:solidFill>
                  <a:schemeClr val="bg2"/>
                </a:solidFill>
              </a:rPr>
              <a:t>für Netzwerke, Marktplätze, Ökosysteme</a:t>
            </a:r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697000B-A16F-B0EB-3118-A0DCCA30A116}"/>
              </a:ext>
            </a:extLst>
          </p:cNvPr>
          <p:cNvSpPr>
            <a:spLocks/>
          </p:cNvSpPr>
          <p:nvPr/>
        </p:nvSpPr>
        <p:spPr>
          <a:xfrm>
            <a:off x="9012518" y="2312988"/>
            <a:ext cx="2484157" cy="1247913"/>
          </a:xfrm>
          <a:prstGeom prst="round1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KI-Partner &amp; Ethikinstanz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193E51E-71A5-C5B4-553D-9B0B32AC87AE}"/>
              </a:ext>
            </a:extLst>
          </p:cNvPr>
          <p:cNvSpPr>
            <a:spLocks/>
          </p:cNvSpPr>
          <p:nvPr/>
        </p:nvSpPr>
        <p:spPr>
          <a:xfrm>
            <a:off x="9012518" y="3632933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Beziehungsgestalter</a:t>
            </a:r>
          </a:p>
          <a:p>
            <a:pPr algn="ctr"/>
            <a:r>
              <a:rPr lang="de-DE" sz="1200">
                <a:solidFill>
                  <a:schemeClr val="bg2"/>
                </a:solidFill>
              </a:rPr>
              <a:t>Beziehungen, Verbindungen, psychologische Sicherheit</a:t>
            </a:r>
            <a:endParaRPr lang="de-DE">
              <a:solidFill>
                <a:schemeClr val="bg2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4C5B74-EDFC-C9E8-FB92-8460C40757D8}"/>
              </a:ext>
            </a:extLst>
          </p:cNvPr>
          <p:cNvSpPr>
            <a:spLocks/>
          </p:cNvSpPr>
          <p:nvPr/>
        </p:nvSpPr>
        <p:spPr>
          <a:xfrm>
            <a:off x="9012518" y="4952862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 err="1">
                <a:solidFill>
                  <a:schemeClr val="bg2"/>
                </a:solidFill>
              </a:rPr>
              <a:t>Enablement</a:t>
            </a:r>
            <a:r>
              <a:rPr lang="de-DE" sz="1600" b="1">
                <a:solidFill>
                  <a:schemeClr val="bg2"/>
                </a:solidFill>
              </a:rPr>
              <a:t> </a:t>
            </a:r>
            <a:endParaRPr lang="en-US">
              <a:solidFill>
                <a:schemeClr val="bg2"/>
              </a:solidFill>
            </a:endParaRPr>
          </a:p>
          <a:p>
            <a:pPr algn="ctr"/>
            <a:r>
              <a:rPr lang="de-DE" sz="1600" b="1">
                <a:solidFill>
                  <a:schemeClr val="bg2"/>
                </a:solidFill>
              </a:rPr>
              <a:t>Motor</a:t>
            </a:r>
            <a:endParaRPr lang="en-US">
              <a:solidFill>
                <a:schemeClr val="bg2"/>
              </a:solidFill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81862F49-109D-8B6B-62D5-6A44D94857D7}"/>
              </a:ext>
            </a:extLst>
          </p:cNvPr>
          <p:cNvSpPr txBox="1">
            <a:spLocks/>
          </p:cNvSpPr>
          <p:nvPr/>
        </p:nvSpPr>
        <p:spPr>
          <a:xfrm>
            <a:off x="695326" y="1546697"/>
            <a:ext cx="5040312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noProof="0"/>
              <a:t>Deutschland 2040</a:t>
            </a:r>
            <a:endParaRPr lang="de-DE" b="0" noProof="0">
              <a:gradFill flip="none" rotWithShape="1">
                <a:gsLst>
                  <a:gs pos="50000">
                    <a:schemeClr val="accent4"/>
                  </a:gs>
                  <a:gs pos="35000">
                    <a:schemeClr val="accent2"/>
                  </a:gs>
                  <a:gs pos="85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8B067400-4CF8-2D78-DD89-A6F51B327E1F}"/>
              </a:ext>
            </a:extLst>
          </p:cNvPr>
          <p:cNvSpPr txBox="1">
            <a:spLocks/>
          </p:cNvSpPr>
          <p:nvPr/>
        </p:nvSpPr>
        <p:spPr>
          <a:xfrm>
            <a:off x="6456362" y="1546697"/>
            <a:ext cx="5040312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noProof="0">
                <a:gradFill>
                  <a:gsLst>
                    <a:gs pos="10000">
                      <a:schemeClr val="accent4"/>
                    </a:gs>
                    <a:gs pos="0">
                      <a:schemeClr val="accent2"/>
                    </a:gs>
                    <a:gs pos="21000">
                      <a:schemeClr val="accent5"/>
                    </a:gs>
                  </a:gsLst>
                  <a:lin ang="0" scaled="1"/>
                </a:gradFill>
              </a:rPr>
              <a:t>HR</a:t>
            </a:r>
            <a:r>
              <a:rPr lang="de-DE" noProof="0"/>
              <a:t> </a:t>
            </a:r>
            <a:r>
              <a:rPr lang="de-DE" b="0" noProof="0"/>
              <a:t>der Zukunft</a:t>
            </a:r>
          </a:p>
        </p:txBody>
      </p:sp>
      <p:sp>
        <p:nvSpPr>
          <p:cNvPr id="32" name="Abgerundetes Rechteck 6">
            <a:extLst>
              <a:ext uri="{FF2B5EF4-FFF2-40B4-BE49-F238E27FC236}">
                <a16:creationId xmlns:a16="http://schemas.microsoft.com/office/drawing/2014/main" id="{C556D08C-83F1-5311-5E33-73B15F66B27D}"/>
              </a:ext>
            </a:extLst>
          </p:cNvPr>
          <p:cNvSpPr>
            <a:spLocks/>
          </p:cNvSpPr>
          <p:nvPr/>
        </p:nvSpPr>
        <p:spPr>
          <a:xfrm>
            <a:off x="2888737" y="2312988"/>
            <a:ext cx="2121413" cy="1247929"/>
          </a:xfrm>
          <a:prstGeom prst="roundRect">
            <a:avLst>
              <a:gd name="adj" fmla="val 1387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KI-Kollaboration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33" name="Abgerundetes Rechteck 6">
            <a:extLst>
              <a:ext uri="{FF2B5EF4-FFF2-40B4-BE49-F238E27FC236}">
                <a16:creationId xmlns:a16="http://schemas.microsoft.com/office/drawing/2014/main" id="{A5AFD790-3F4F-FE7C-BA5E-38D9CDD00758}"/>
              </a:ext>
            </a:extLst>
          </p:cNvPr>
          <p:cNvSpPr>
            <a:spLocks/>
          </p:cNvSpPr>
          <p:nvPr/>
        </p:nvSpPr>
        <p:spPr>
          <a:xfrm>
            <a:off x="695325" y="2313007"/>
            <a:ext cx="2121413" cy="1247910"/>
          </a:xfrm>
          <a:prstGeom prst="roundRect">
            <a:avLst>
              <a:gd name="adj" fmla="val 1387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 err="1">
                <a:solidFill>
                  <a:schemeClr val="tx1"/>
                </a:solidFill>
              </a:rPr>
              <a:t>Skill</a:t>
            </a:r>
            <a:r>
              <a:rPr lang="de-DE" sz="1600" b="1">
                <a:solidFill>
                  <a:schemeClr val="tx1"/>
                </a:solidFill>
              </a:rPr>
              <a:t>-Knappheit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Abgerundetes Rechteck 6">
            <a:extLst>
              <a:ext uri="{FF2B5EF4-FFF2-40B4-BE49-F238E27FC236}">
                <a16:creationId xmlns:a16="http://schemas.microsoft.com/office/drawing/2014/main" id="{378AEB58-D99F-4307-28B7-5E850F35811E}"/>
              </a:ext>
            </a:extLst>
          </p:cNvPr>
          <p:cNvSpPr>
            <a:spLocks/>
          </p:cNvSpPr>
          <p:nvPr/>
        </p:nvSpPr>
        <p:spPr>
          <a:xfrm>
            <a:off x="695326" y="4952846"/>
            <a:ext cx="2121413" cy="1247929"/>
          </a:xfrm>
          <a:prstGeom prst="roundRect">
            <a:avLst>
              <a:gd name="adj" fmla="val 1387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Fluidität </a:t>
            </a:r>
            <a:endParaRPr lang="en-US" sz="1200">
              <a:solidFill>
                <a:schemeClr val="tx1"/>
              </a:solidFill>
            </a:endParaRPr>
          </a:p>
          <a:p>
            <a:pPr algn="ctr"/>
            <a:r>
              <a:rPr lang="de-DE" sz="1200">
                <a:solidFill>
                  <a:schemeClr val="tx1"/>
                </a:solidFill>
              </a:rPr>
              <a:t>statt starre Strukturen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4" name="Abgerundetes Rechteck 6">
            <a:extLst>
              <a:ext uri="{FF2B5EF4-FFF2-40B4-BE49-F238E27FC236}">
                <a16:creationId xmlns:a16="http://schemas.microsoft.com/office/drawing/2014/main" id="{555E9723-CDD6-B5DF-686D-6C3AEC2A02B8}"/>
              </a:ext>
            </a:extLst>
          </p:cNvPr>
          <p:cNvSpPr>
            <a:spLocks/>
          </p:cNvSpPr>
          <p:nvPr/>
        </p:nvSpPr>
        <p:spPr>
          <a:xfrm>
            <a:off x="2888737" y="4952862"/>
            <a:ext cx="2121413" cy="1247913"/>
          </a:xfrm>
          <a:prstGeom prst="roundRect">
            <a:avLst>
              <a:gd name="adj" fmla="val 1387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Lernökonomie </a:t>
            </a:r>
            <a:r>
              <a:rPr lang="de-DE" sz="1200">
                <a:solidFill>
                  <a:schemeClr val="tx1"/>
                </a:solidFill>
              </a:rPr>
              <a:t>Permanentes Lernen 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5" name="Abgerundetes Rechteck 6">
            <a:extLst>
              <a:ext uri="{FF2B5EF4-FFF2-40B4-BE49-F238E27FC236}">
                <a16:creationId xmlns:a16="http://schemas.microsoft.com/office/drawing/2014/main" id="{35512EF7-3BD4-8F74-F785-0606F4893A3D}"/>
              </a:ext>
            </a:extLst>
          </p:cNvPr>
          <p:cNvSpPr>
            <a:spLocks/>
          </p:cNvSpPr>
          <p:nvPr/>
        </p:nvSpPr>
        <p:spPr>
          <a:xfrm>
            <a:off x="695325" y="3632917"/>
            <a:ext cx="2121413" cy="1238758"/>
          </a:xfrm>
          <a:prstGeom prst="roundRect">
            <a:avLst>
              <a:gd name="adj" fmla="val 13977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Pluralität </a:t>
            </a:r>
            <a:endParaRPr lang="en-US" sz="1200">
              <a:solidFill>
                <a:schemeClr val="tx1"/>
              </a:solidFill>
            </a:endParaRPr>
          </a:p>
          <a:p>
            <a:pPr algn="ctr"/>
            <a:r>
              <a:rPr lang="de-DE" sz="1200">
                <a:solidFill>
                  <a:schemeClr val="tx1"/>
                </a:solidFill>
              </a:rPr>
              <a:t>Der Gesellschaft - vielfältig, global, kulturell komplex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6" name="Abgerundetes Rechteck 6">
            <a:extLst>
              <a:ext uri="{FF2B5EF4-FFF2-40B4-BE49-F238E27FC236}">
                <a16:creationId xmlns:a16="http://schemas.microsoft.com/office/drawing/2014/main" id="{F3A53215-01A0-0375-42A4-5015553E7FC0}"/>
              </a:ext>
            </a:extLst>
          </p:cNvPr>
          <p:cNvSpPr>
            <a:spLocks/>
          </p:cNvSpPr>
          <p:nvPr/>
        </p:nvSpPr>
        <p:spPr>
          <a:xfrm>
            <a:off x="2888737" y="3642088"/>
            <a:ext cx="2121413" cy="1238758"/>
          </a:xfrm>
          <a:prstGeom prst="roundRect">
            <a:avLst>
              <a:gd name="adj" fmla="val 13977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Entgrenzung </a:t>
            </a:r>
            <a:r>
              <a:rPr lang="de-DE" sz="1200">
                <a:solidFill>
                  <a:schemeClr val="tx1"/>
                </a:solidFill>
              </a:rPr>
              <a:t>statt Präsenzkultur /</a:t>
            </a:r>
            <a:endParaRPr lang="en-US" sz="1200">
              <a:solidFill>
                <a:schemeClr val="tx1"/>
              </a:solidFill>
            </a:endParaRPr>
          </a:p>
          <a:p>
            <a:pPr algn="ctr"/>
            <a:r>
              <a:rPr lang="de-DE" sz="1600" b="1">
                <a:solidFill>
                  <a:schemeClr val="tx1"/>
                </a:solidFill>
              </a:rPr>
              <a:t>Hybridität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874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44444E-6 L -1.875E-6 0.0386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1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44444E-6 L -1.875E-6 0.03866 " pathEditMode="relative" rAng="0" ptsTypes="AA">
                                      <p:cBhvr>
                                        <p:cTn id="37" dur="10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5" grpId="0" animBg="1"/>
      <p:bldP spid="27" grpId="0" animBg="1"/>
      <p:bldP spid="28" grpId="0" animBg="1"/>
      <p:bldP spid="26" grpId="0"/>
      <p:bldP spid="26" grpId="1"/>
      <p:bldP spid="29" grpId="0"/>
      <p:bldP spid="29" grpId="1"/>
      <p:bldP spid="32" grpId="0" animBg="1"/>
      <p:bldP spid="33" grpId="0" animBg="1"/>
      <p:bldP spid="31" grpId="0" animBg="1"/>
      <p:bldP spid="34" grpId="0" animBg="1"/>
      <p:bldP spid="35" grpId="0" animBg="1"/>
      <p:bldP spid="3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1AFB8D-3AA4-F1D2-AA96-EB4C198C74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675CB5F8-95EB-FAAA-CF7D-FA8321B376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5CB5F8-95EB-FAAA-CF7D-FA8321B37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Grafik 46">
            <a:extLst>
              <a:ext uri="{FF2B5EF4-FFF2-40B4-BE49-F238E27FC236}">
                <a16:creationId xmlns:a16="http://schemas.microsoft.com/office/drawing/2014/main" id="{13C3B0A6-4E05-4350-2BEE-523FBA545B3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580" t="62773" b="1"/>
          <a:stretch/>
        </p:blipFill>
        <p:spPr>
          <a:xfrm rot="16200000" flipH="1" flipV="1">
            <a:off x="7422639" y="894047"/>
            <a:ext cx="5663408" cy="3875314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8455C3E-1DDF-74CE-AD55-56DF461E01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Wie sieht eine zukunftsfähige IT in 2040 aus?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872740-5AC9-9EAC-B5CD-FCFE83AA9B70}"/>
              </a:ext>
            </a:extLst>
          </p:cNvPr>
          <p:cNvSpPr>
            <a:spLocks/>
          </p:cNvSpPr>
          <p:nvPr/>
        </p:nvSpPr>
        <p:spPr>
          <a:xfrm>
            <a:off x="6456361" y="2312988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Eco-Design </a:t>
            </a:r>
            <a:r>
              <a:rPr lang="de-DE" sz="1200">
                <a:solidFill>
                  <a:schemeClr val="bg2"/>
                </a:solidFill>
              </a:rPr>
              <a:t>und</a:t>
            </a:r>
            <a:r>
              <a:rPr lang="de-DE" sz="1600" b="1">
                <a:solidFill>
                  <a:schemeClr val="bg2"/>
                </a:solidFill>
              </a:rPr>
              <a:t> </a:t>
            </a:r>
            <a:endParaRPr lang="en-US" sz="1600">
              <a:solidFill>
                <a:schemeClr val="bg2"/>
              </a:solidFill>
            </a:endParaRPr>
          </a:p>
          <a:p>
            <a:pPr algn="ctr"/>
            <a:r>
              <a:rPr lang="de-DE" sz="1600" b="1">
                <a:solidFill>
                  <a:schemeClr val="bg2"/>
                </a:solidFill>
              </a:rPr>
              <a:t>Green IT Gestalter</a:t>
            </a:r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1AD602D-DAD1-B670-118A-2F1885888F11}"/>
              </a:ext>
            </a:extLst>
          </p:cNvPr>
          <p:cNvSpPr>
            <a:spLocks/>
          </p:cNvSpPr>
          <p:nvPr/>
        </p:nvSpPr>
        <p:spPr>
          <a:xfrm>
            <a:off x="6456361" y="3632933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  <a:ea typeface="+mn-lt"/>
                <a:cs typeface="+mn-lt"/>
              </a:rPr>
              <a:t>Learning Infrastructure </a:t>
            </a:r>
            <a:endParaRPr lang="en-US" sz="1600" b="1">
              <a:solidFill>
                <a:schemeClr val="bg2"/>
              </a:solidFill>
              <a:ea typeface="+mn-lt"/>
              <a:cs typeface="+mn-lt"/>
            </a:endParaRPr>
          </a:p>
          <a:p>
            <a:pPr algn="ctr"/>
            <a:r>
              <a:rPr lang="de-DE" sz="1600" b="1" err="1">
                <a:solidFill>
                  <a:schemeClr val="bg2"/>
                </a:solidFill>
                <a:ea typeface="+mn-lt"/>
                <a:cs typeface="+mn-lt"/>
              </a:rPr>
              <a:t>Builder</a:t>
            </a:r>
            <a:endParaRPr lang="en-US" sz="1600" b="1" err="1">
              <a:solidFill>
                <a:schemeClr val="bg2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E927962-A5E9-6926-623C-30401691B326}"/>
              </a:ext>
            </a:extLst>
          </p:cNvPr>
          <p:cNvSpPr>
            <a:spLocks/>
          </p:cNvSpPr>
          <p:nvPr/>
        </p:nvSpPr>
        <p:spPr>
          <a:xfrm>
            <a:off x="6456361" y="4952862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Plattform-</a:t>
            </a:r>
            <a:endParaRPr lang="en-US" sz="1600" b="1" err="1">
              <a:solidFill>
                <a:schemeClr val="bg2"/>
              </a:solidFill>
            </a:endParaRPr>
          </a:p>
          <a:p>
            <a:pPr algn="ctr"/>
            <a:r>
              <a:rPr lang="de-DE" sz="1600" b="1" err="1">
                <a:solidFill>
                  <a:schemeClr val="bg2"/>
                </a:solidFill>
              </a:rPr>
              <a:t>Enabler</a:t>
            </a:r>
            <a:endParaRPr lang="en-US" sz="1600" b="1" err="1">
              <a:solidFill>
                <a:schemeClr val="bg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94A0A5A-C0B3-6B89-BF75-D1B5C4B7024B}"/>
              </a:ext>
            </a:extLst>
          </p:cNvPr>
          <p:cNvSpPr>
            <a:spLocks/>
          </p:cNvSpPr>
          <p:nvPr/>
        </p:nvSpPr>
        <p:spPr>
          <a:xfrm>
            <a:off x="9012518" y="2312988"/>
            <a:ext cx="2484157" cy="1247913"/>
          </a:xfrm>
          <a:prstGeom prst="round1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AI &amp; Data- </a:t>
            </a:r>
            <a:endParaRPr lang="en-US">
              <a:solidFill>
                <a:schemeClr val="bg2"/>
              </a:solidFill>
            </a:endParaRPr>
          </a:p>
          <a:p>
            <a:pPr algn="ctr"/>
            <a:r>
              <a:rPr lang="de-DE" sz="1600" b="1">
                <a:solidFill>
                  <a:schemeClr val="bg2"/>
                </a:solidFill>
              </a:rPr>
              <a:t>Governor</a:t>
            </a:r>
            <a:endParaRPr lang="en-US">
              <a:solidFill>
                <a:schemeClr val="bg2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150D98D-856B-5AE5-B190-95ACEC210DA2}"/>
              </a:ext>
            </a:extLst>
          </p:cNvPr>
          <p:cNvSpPr>
            <a:spLocks/>
          </p:cNvSpPr>
          <p:nvPr/>
        </p:nvSpPr>
        <p:spPr>
          <a:xfrm>
            <a:off x="9012518" y="3632933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Resilienz-</a:t>
            </a:r>
            <a:endParaRPr lang="en-US">
              <a:solidFill>
                <a:srgbClr val="FFFFFF"/>
              </a:solidFill>
            </a:endParaRPr>
          </a:p>
          <a:p>
            <a:pPr algn="ctr"/>
            <a:r>
              <a:rPr lang="de-DE" sz="1600" b="1">
                <a:solidFill>
                  <a:schemeClr val="bg2"/>
                </a:solidFill>
              </a:rPr>
              <a:t>Designer</a:t>
            </a:r>
            <a:endParaRPr lang="en-US">
              <a:solidFill>
                <a:schemeClr val="bg2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5358816-7DEB-F9BA-C62A-9286DCAA5424}"/>
              </a:ext>
            </a:extLst>
          </p:cNvPr>
          <p:cNvSpPr>
            <a:spLocks/>
          </p:cNvSpPr>
          <p:nvPr/>
        </p:nvSpPr>
        <p:spPr>
          <a:xfrm>
            <a:off x="9012518" y="4952862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System-</a:t>
            </a:r>
            <a:endParaRPr lang="en-US">
              <a:solidFill>
                <a:srgbClr val="FFFFFF"/>
              </a:solidFill>
            </a:endParaRPr>
          </a:p>
          <a:p>
            <a:pPr algn="ctr"/>
            <a:r>
              <a:rPr lang="de-DE" sz="1600" b="1">
                <a:solidFill>
                  <a:schemeClr val="bg2"/>
                </a:solidFill>
              </a:rPr>
              <a:t>Übersetzer</a:t>
            </a:r>
            <a:endParaRPr lang="en-US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7F821D1-6992-79EF-4B8D-863EF784587C}"/>
              </a:ext>
            </a:extLst>
          </p:cNvPr>
          <p:cNvSpPr txBox="1">
            <a:spLocks/>
          </p:cNvSpPr>
          <p:nvPr/>
        </p:nvSpPr>
        <p:spPr>
          <a:xfrm>
            <a:off x="695326" y="1546697"/>
            <a:ext cx="5040312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noProof="0"/>
              <a:t>Deutschland 2040</a:t>
            </a:r>
            <a:endParaRPr lang="de-DE" b="0" noProof="0">
              <a:gradFill flip="none" rotWithShape="1">
                <a:gsLst>
                  <a:gs pos="50000">
                    <a:schemeClr val="accent4"/>
                  </a:gs>
                  <a:gs pos="35000">
                    <a:schemeClr val="accent2"/>
                  </a:gs>
                  <a:gs pos="85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458718AC-70F2-0870-655B-50764F816124}"/>
              </a:ext>
            </a:extLst>
          </p:cNvPr>
          <p:cNvSpPr txBox="1">
            <a:spLocks/>
          </p:cNvSpPr>
          <p:nvPr/>
        </p:nvSpPr>
        <p:spPr>
          <a:xfrm>
            <a:off x="6456362" y="1546697"/>
            <a:ext cx="5040312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noProof="0">
                <a:gradFill>
                  <a:gsLst>
                    <a:gs pos="7000">
                      <a:schemeClr val="accent4"/>
                    </a:gs>
                    <a:gs pos="0">
                      <a:schemeClr val="accent2"/>
                    </a:gs>
                    <a:gs pos="15000">
                      <a:schemeClr val="accent5"/>
                    </a:gs>
                  </a:gsLst>
                  <a:lin ang="0" scaled="1"/>
                </a:gradFill>
              </a:rPr>
              <a:t>IT</a:t>
            </a:r>
            <a:r>
              <a:rPr lang="de-DE" noProof="0"/>
              <a:t> </a:t>
            </a:r>
            <a:r>
              <a:rPr lang="de-DE" b="0" noProof="0"/>
              <a:t>der Zukunft</a:t>
            </a:r>
          </a:p>
        </p:txBody>
      </p:sp>
      <p:sp>
        <p:nvSpPr>
          <p:cNvPr id="32" name="Abgerundetes Rechteck 6">
            <a:extLst>
              <a:ext uri="{FF2B5EF4-FFF2-40B4-BE49-F238E27FC236}">
                <a16:creationId xmlns:a16="http://schemas.microsoft.com/office/drawing/2014/main" id="{467B8983-8BE5-FF2B-D889-33509A0714C4}"/>
              </a:ext>
            </a:extLst>
          </p:cNvPr>
          <p:cNvSpPr>
            <a:spLocks/>
          </p:cNvSpPr>
          <p:nvPr/>
        </p:nvSpPr>
        <p:spPr>
          <a:xfrm>
            <a:off x="2888737" y="2312988"/>
            <a:ext cx="2121413" cy="1247929"/>
          </a:xfrm>
          <a:prstGeom prst="roundRect">
            <a:avLst>
              <a:gd name="adj" fmla="val 1387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Autonome </a:t>
            </a:r>
            <a:endParaRPr lang="en-US" sz="1600" b="1">
              <a:solidFill>
                <a:schemeClr val="tx1"/>
              </a:solidFill>
            </a:endParaRPr>
          </a:p>
          <a:p>
            <a:pPr algn="ctr"/>
            <a:r>
              <a:rPr lang="de-DE" sz="1600" b="1">
                <a:solidFill>
                  <a:schemeClr val="tx1"/>
                </a:solidFill>
              </a:rPr>
              <a:t>KI-Systeme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33" name="Abgerundetes Rechteck 6">
            <a:extLst>
              <a:ext uri="{FF2B5EF4-FFF2-40B4-BE49-F238E27FC236}">
                <a16:creationId xmlns:a16="http://schemas.microsoft.com/office/drawing/2014/main" id="{B9A7EBE9-D822-4243-2030-6866A2B8F966}"/>
              </a:ext>
            </a:extLst>
          </p:cNvPr>
          <p:cNvSpPr>
            <a:spLocks/>
          </p:cNvSpPr>
          <p:nvPr/>
        </p:nvSpPr>
        <p:spPr>
          <a:xfrm>
            <a:off x="695325" y="2313007"/>
            <a:ext cx="2121413" cy="1247910"/>
          </a:xfrm>
          <a:prstGeom prst="roundRect">
            <a:avLst>
              <a:gd name="adj" fmla="val 1387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  <a:ea typeface="+mn-lt"/>
                <a:cs typeface="+mn-lt"/>
              </a:rPr>
              <a:t>Exponentieller Energieverbrauch </a:t>
            </a:r>
            <a:r>
              <a:rPr lang="de-DE" sz="1200">
                <a:solidFill>
                  <a:schemeClr val="tx1"/>
                </a:solidFill>
                <a:ea typeface="+mn-lt"/>
                <a:cs typeface="+mn-lt"/>
              </a:rPr>
              <a:t>durch IT &amp; Digitalisierung 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Abgerundetes Rechteck 6">
            <a:extLst>
              <a:ext uri="{FF2B5EF4-FFF2-40B4-BE49-F238E27FC236}">
                <a16:creationId xmlns:a16="http://schemas.microsoft.com/office/drawing/2014/main" id="{822FF810-15BE-613C-5EBE-4D90241FD45D}"/>
              </a:ext>
            </a:extLst>
          </p:cNvPr>
          <p:cNvSpPr>
            <a:spLocks/>
          </p:cNvSpPr>
          <p:nvPr/>
        </p:nvSpPr>
        <p:spPr>
          <a:xfrm>
            <a:off x="695326" y="4952846"/>
            <a:ext cx="2121413" cy="1247929"/>
          </a:xfrm>
          <a:prstGeom prst="roundRect">
            <a:avLst>
              <a:gd name="adj" fmla="val 1387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  <a:ea typeface="+mn-lt"/>
                <a:cs typeface="+mn-lt"/>
              </a:rPr>
              <a:t>Abhängigkeit </a:t>
            </a:r>
            <a:r>
              <a:rPr lang="de-DE" sz="1200">
                <a:solidFill>
                  <a:schemeClr val="tx1"/>
                </a:solidFill>
                <a:ea typeface="+mn-lt"/>
                <a:cs typeface="+mn-lt"/>
              </a:rPr>
              <a:t>von </a:t>
            </a:r>
            <a:r>
              <a:rPr lang="de-DE" sz="1600" b="1">
                <a:solidFill>
                  <a:schemeClr val="tx1"/>
                </a:solidFill>
                <a:ea typeface="+mn-lt"/>
                <a:cs typeface="+mn-lt"/>
              </a:rPr>
              <a:t>Plattform-Monopolen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34" name="Abgerundetes Rechteck 6">
            <a:extLst>
              <a:ext uri="{FF2B5EF4-FFF2-40B4-BE49-F238E27FC236}">
                <a16:creationId xmlns:a16="http://schemas.microsoft.com/office/drawing/2014/main" id="{10B1A319-D9B3-B436-FEDE-13D95A1B0B00}"/>
              </a:ext>
            </a:extLst>
          </p:cNvPr>
          <p:cNvSpPr>
            <a:spLocks/>
          </p:cNvSpPr>
          <p:nvPr/>
        </p:nvSpPr>
        <p:spPr>
          <a:xfrm>
            <a:off x="2888737" y="4952862"/>
            <a:ext cx="2121413" cy="1247913"/>
          </a:xfrm>
          <a:prstGeom prst="roundRect">
            <a:avLst>
              <a:gd name="adj" fmla="val 1387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Hypervernetzung </a:t>
            </a:r>
            <a:r>
              <a:rPr lang="de-DE" sz="1600">
                <a:solidFill>
                  <a:schemeClr val="tx1"/>
                </a:solidFill>
              </a:rPr>
              <a:t>&amp; </a:t>
            </a:r>
            <a:r>
              <a:rPr lang="de-DE" sz="1600" b="1">
                <a:solidFill>
                  <a:schemeClr val="tx1"/>
                </a:solidFill>
              </a:rPr>
              <a:t>Systemkomplexität</a:t>
            </a:r>
            <a:endParaRPr lang="en-US" b="1">
              <a:solidFill>
                <a:schemeClr val="tx1"/>
              </a:solidFill>
            </a:endParaRPr>
          </a:p>
        </p:txBody>
      </p:sp>
      <p:sp>
        <p:nvSpPr>
          <p:cNvPr id="35" name="Abgerundetes Rechteck 6">
            <a:extLst>
              <a:ext uri="{FF2B5EF4-FFF2-40B4-BE49-F238E27FC236}">
                <a16:creationId xmlns:a16="http://schemas.microsoft.com/office/drawing/2014/main" id="{E3AA3804-7D3A-BD0E-AA28-A9D222A019F7}"/>
              </a:ext>
            </a:extLst>
          </p:cNvPr>
          <p:cNvSpPr>
            <a:spLocks/>
          </p:cNvSpPr>
          <p:nvPr/>
        </p:nvSpPr>
        <p:spPr>
          <a:xfrm>
            <a:off x="695325" y="3632917"/>
            <a:ext cx="2121413" cy="1238758"/>
          </a:xfrm>
          <a:prstGeom prst="roundRect">
            <a:avLst>
              <a:gd name="adj" fmla="val 13977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 err="1">
                <a:solidFill>
                  <a:schemeClr val="tx1"/>
                </a:solidFill>
              </a:rPr>
              <a:t>Skill</a:t>
            </a:r>
            <a:r>
              <a:rPr lang="de-DE" sz="1600" b="1">
                <a:solidFill>
                  <a:schemeClr val="tx1"/>
                </a:solidFill>
              </a:rPr>
              <a:t>-Knappheit </a:t>
            </a:r>
            <a:endParaRPr lang="en-US">
              <a:solidFill>
                <a:schemeClr val="tx1"/>
              </a:solidFill>
            </a:endParaRPr>
          </a:p>
          <a:p>
            <a:pPr algn="ctr"/>
            <a:r>
              <a:rPr lang="de-DE" sz="1200">
                <a:solidFill>
                  <a:schemeClr val="tx1"/>
                </a:solidFill>
              </a:rPr>
              <a:t>&amp; Wissensverfall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36" name="Abgerundetes Rechteck 6">
            <a:extLst>
              <a:ext uri="{FF2B5EF4-FFF2-40B4-BE49-F238E27FC236}">
                <a16:creationId xmlns:a16="http://schemas.microsoft.com/office/drawing/2014/main" id="{39E5AEFC-70DD-D800-5F59-769E1CB8F5FC}"/>
              </a:ext>
            </a:extLst>
          </p:cNvPr>
          <p:cNvSpPr>
            <a:spLocks/>
          </p:cNvSpPr>
          <p:nvPr/>
        </p:nvSpPr>
        <p:spPr>
          <a:xfrm>
            <a:off x="2888737" y="3642088"/>
            <a:ext cx="2121413" cy="1238758"/>
          </a:xfrm>
          <a:prstGeom prst="roundRect">
            <a:avLst>
              <a:gd name="adj" fmla="val 13977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 IT als</a:t>
            </a:r>
            <a:r>
              <a:rPr lang="de-DE" sz="1600" b="1">
                <a:solidFill>
                  <a:schemeClr val="tx1"/>
                </a:solidFill>
              </a:rPr>
              <a:t> systemkritische Infrastruktur</a:t>
            </a:r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02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44444E-6 L -1.875E-6 0.0386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1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44444E-6 L -1.875E-6 0.03866 " pathEditMode="relative" rAng="0" ptsTypes="AA">
                                      <p:cBhvr>
                                        <p:cTn id="37" dur="10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5" grpId="0" animBg="1"/>
      <p:bldP spid="27" grpId="0" animBg="1"/>
      <p:bldP spid="28" grpId="0" animBg="1"/>
      <p:bldP spid="26" grpId="0"/>
      <p:bldP spid="26" grpId="1"/>
      <p:bldP spid="29" grpId="0"/>
      <p:bldP spid="29" grpId="1"/>
      <p:bldP spid="32" grpId="0" animBg="1"/>
      <p:bldP spid="33" grpId="0" animBg="1"/>
      <p:bldP spid="31" grpId="0" animBg="1"/>
      <p:bldP spid="34" grpId="0" animBg="1"/>
      <p:bldP spid="35" grpId="0" animBg="1"/>
      <p:bldP spid="3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A18FD-DCD5-ADB3-7667-9F622B09C6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6D7EB27-657D-A2B2-51E0-BADE15882F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D7EB27-657D-A2B2-51E0-BADE15882F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Grafik 46">
            <a:extLst>
              <a:ext uri="{FF2B5EF4-FFF2-40B4-BE49-F238E27FC236}">
                <a16:creationId xmlns:a16="http://schemas.microsoft.com/office/drawing/2014/main" id="{5A988A06-D8F2-128F-3E14-125119EE7B3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580" t="62773" b="1"/>
          <a:stretch/>
        </p:blipFill>
        <p:spPr>
          <a:xfrm rot="16200000" flipH="1" flipV="1">
            <a:off x="7422639" y="894047"/>
            <a:ext cx="5663408" cy="3875314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0559E72-6AEC-E891-49E9-E7590DDF63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Wie sieht ein zukunftsfähiges Business in 2040 aus?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5DEC5BA-4D91-46DF-E52E-FF02C493BCFF}"/>
              </a:ext>
            </a:extLst>
          </p:cNvPr>
          <p:cNvSpPr>
            <a:spLocks/>
          </p:cNvSpPr>
          <p:nvPr/>
        </p:nvSpPr>
        <p:spPr>
          <a:xfrm>
            <a:off x="6471015" y="2312988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Impact </a:t>
            </a:r>
            <a:endParaRPr lang="en-US" sz="1600" b="1">
              <a:solidFill>
                <a:schemeClr val="bg2"/>
              </a:solidFill>
            </a:endParaRPr>
          </a:p>
          <a:p>
            <a:pPr algn="ctr"/>
            <a:r>
              <a:rPr lang="de-DE" sz="1600" b="1">
                <a:solidFill>
                  <a:schemeClr val="bg2"/>
                </a:solidFill>
              </a:rPr>
              <a:t>Orchestrator</a:t>
            </a:r>
            <a:endParaRPr lang="en-US" sz="1600" b="1">
              <a:solidFill>
                <a:schemeClr val="bg2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F06C6DD-7BF0-6007-86B9-95DD28E96D67}"/>
              </a:ext>
            </a:extLst>
          </p:cNvPr>
          <p:cNvSpPr>
            <a:spLocks/>
          </p:cNvSpPr>
          <p:nvPr/>
        </p:nvSpPr>
        <p:spPr>
          <a:xfrm>
            <a:off x="6456361" y="3632933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Resilienz-</a:t>
            </a:r>
            <a:endParaRPr lang="en-US" sz="1600" b="1">
              <a:solidFill>
                <a:schemeClr val="bg2"/>
              </a:solidFill>
            </a:endParaRPr>
          </a:p>
          <a:p>
            <a:pPr algn="ctr"/>
            <a:r>
              <a:rPr lang="de-DE" sz="1600" b="1">
                <a:solidFill>
                  <a:schemeClr val="bg2"/>
                </a:solidFill>
              </a:rPr>
              <a:t>Architekt</a:t>
            </a:r>
            <a:endParaRPr lang="en-US" sz="1600" b="1">
              <a:solidFill>
                <a:schemeClr val="bg2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79F8679-6499-D404-0583-B544CE2360E8}"/>
              </a:ext>
            </a:extLst>
          </p:cNvPr>
          <p:cNvSpPr>
            <a:spLocks/>
          </p:cNvSpPr>
          <p:nvPr/>
        </p:nvSpPr>
        <p:spPr>
          <a:xfrm>
            <a:off x="6456361" y="4952862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Echtzeit-Anbieter</a:t>
            </a:r>
            <a:endParaRPr lang="en-US" sz="1600" b="1">
              <a:solidFill>
                <a:schemeClr val="bg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CF5945A-2370-9740-8817-6EC58F038697}"/>
              </a:ext>
            </a:extLst>
          </p:cNvPr>
          <p:cNvSpPr>
            <a:spLocks/>
          </p:cNvSpPr>
          <p:nvPr/>
        </p:nvSpPr>
        <p:spPr>
          <a:xfrm>
            <a:off x="9012518" y="2312988"/>
            <a:ext cx="2484157" cy="1247913"/>
          </a:xfrm>
          <a:prstGeom prst="round1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Kunden-Co-Creator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B2AD29D-CD08-977C-B181-E7059A5C181F}"/>
              </a:ext>
            </a:extLst>
          </p:cNvPr>
          <p:cNvSpPr>
            <a:spLocks/>
          </p:cNvSpPr>
          <p:nvPr/>
        </p:nvSpPr>
        <p:spPr>
          <a:xfrm>
            <a:off x="9012518" y="3632933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 err="1">
                <a:solidFill>
                  <a:schemeClr val="bg2"/>
                </a:solidFill>
              </a:rPr>
              <a:t>Circular</a:t>
            </a:r>
            <a:r>
              <a:rPr lang="de-DE" sz="1600" b="1">
                <a:solidFill>
                  <a:schemeClr val="bg2"/>
                </a:solidFill>
              </a:rPr>
              <a:t> Designer</a:t>
            </a:r>
            <a:endParaRPr lang="en-US" sz="1600" b="1">
              <a:solidFill>
                <a:schemeClr val="bg2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8790D9F-ABC4-D01F-1B6C-56579CB6C227}"/>
              </a:ext>
            </a:extLst>
          </p:cNvPr>
          <p:cNvSpPr>
            <a:spLocks/>
          </p:cNvSpPr>
          <p:nvPr/>
        </p:nvSpPr>
        <p:spPr>
          <a:xfrm>
            <a:off x="9012518" y="4952862"/>
            <a:ext cx="2484157" cy="12479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0" rIns="144000" bIns="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bg2"/>
                </a:solidFill>
              </a:rPr>
              <a:t>Vertrauensmarke</a:t>
            </a:r>
            <a:endParaRPr lang="en-US" sz="1600" b="1">
              <a:solidFill>
                <a:schemeClr val="bg2"/>
              </a:solidFill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154FB62E-9A6C-E9FA-85E7-C7AE9CD826A6}"/>
              </a:ext>
            </a:extLst>
          </p:cNvPr>
          <p:cNvSpPr txBox="1">
            <a:spLocks/>
          </p:cNvSpPr>
          <p:nvPr/>
        </p:nvSpPr>
        <p:spPr>
          <a:xfrm>
            <a:off x="695326" y="1546697"/>
            <a:ext cx="5040312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noProof="0"/>
              <a:t>Deutschland 2040</a:t>
            </a:r>
            <a:endParaRPr lang="de-DE" b="0" noProof="0">
              <a:gradFill flip="none" rotWithShape="1">
                <a:gsLst>
                  <a:gs pos="50000">
                    <a:schemeClr val="accent4"/>
                  </a:gs>
                  <a:gs pos="35000">
                    <a:schemeClr val="accent2"/>
                  </a:gs>
                  <a:gs pos="85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D53DE397-03D2-430C-FA28-C4BDFF5D935C}"/>
              </a:ext>
            </a:extLst>
          </p:cNvPr>
          <p:cNvSpPr txBox="1">
            <a:spLocks/>
          </p:cNvSpPr>
          <p:nvPr/>
        </p:nvSpPr>
        <p:spPr>
          <a:xfrm>
            <a:off x="6456362" y="1546697"/>
            <a:ext cx="5040312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>
                <a:gradFill>
                  <a:gsLst>
                    <a:gs pos="0">
                      <a:srgbClr val="64E100"/>
                    </a:gs>
                    <a:gs pos="28000">
                      <a:srgbClr val="FDE600"/>
                    </a:gs>
                    <a:gs pos="53000">
                      <a:srgbClr val="FFBEAA"/>
                    </a:gs>
                  </a:gsLst>
                  <a:lin ang="0" scaled="1"/>
                </a:gradFill>
              </a:rPr>
              <a:t>Business </a:t>
            </a:r>
            <a:r>
              <a:rPr lang="de-DE" b="0">
                <a:solidFill>
                  <a:srgbClr val="074440"/>
                </a:solidFill>
              </a:rPr>
              <a:t>der</a:t>
            </a:r>
            <a:r>
              <a:rPr lang="de-DE" b="0" noProof="0"/>
              <a:t> Zukunft</a:t>
            </a:r>
          </a:p>
        </p:txBody>
      </p:sp>
      <p:sp>
        <p:nvSpPr>
          <p:cNvPr id="32" name="Abgerundetes Rechteck 6">
            <a:extLst>
              <a:ext uri="{FF2B5EF4-FFF2-40B4-BE49-F238E27FC236}">
                <a16:creationId xmlns:a16="http://schemas.microsoft.com/office/drawing/2014/main" id="{CB64C82A-200E-E594-B318-ABEA0B84D126}"/>
              </a:ext>
            </a:extLst>
          </p:cNvPr>
          <p:cNvSpPr>
            <a:spLocks/>
          </p:cNvSpPr>
          <p:nvPr/>
        </p:nvSpPr>
        <p:spPr>
          <a:xfrm>
            <a:off x="2888737" y="2312988"/>
            <a:ext cx="2121413" cy="1247929"/>
          </a:xfrm>
          <a:prstGeom prst="roundRect">
            <a:avLst>
              <a:gd name="adj" fmla="val 1387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Konsumenten in Kontrolle</a:t>
            </a:r>
            <a:endParaRPr lang="en-US"/>
          </a:p>
        </p:txBody>
      </p:sp>
      <p:sp>
        <p:nvSpPr>
          <p:cNvPr id="33" name="Abgerundetes Rechteck 6">
            <a:extLst>
              <a:ext uri="{FF2B5EF4-FFF2-40B4-BE49-F238E27FC236}">
                <a16:creationId xmlns:a16="http://schemas.microsoft.com/office/drawing/2014/main" id="{84B1BDED-88DE-3EEA-ECA5-B6BE10524A22}"/>
              </a:ext>
            </a:extLst>
          </p:cNvPr>
          <p:cNvSpPr>
            <a:spLocks/>
          </p:cNvSpPr>
          <p:nvPr/>
        </p:nvSpPr>
        <p:spPr>
          <a:xfrm>
            <a:off x="695325" y="2313007"/>
            <a:ext cx="2121413" cy="1247910"/>
          </a:xfrm>
          <a:prstGeom prst="roundRect">
            <a:avLst>
              <a:gd name="adj" fmla="val 1387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Ökologische Knappheit &amp; neue Regulierung</a:t>
            </a:r>
            <a:endParaRPr lang="en-US"/>
          </a:p>
        </p:txBody>
      </p:sp>
      <p:sp>
        <p:nvSpPr>
          <p:cNvPr id="31" name="Abgerundetes Rechteck 6">
            <a:extLst>
              <a:ext uri="{FF2B5EF4-FFF2-40B4-BE49-F238E27FC236}">
                <a16:creationId xmlns:a16="http://schemas.microsoft.com/office/drawing/2014/main" id="{AAB2A8DF-DEDC-ADF7-2736-B426E883E565}"/>
              </a:ext>
            </a:extLst>
          </p:cNvPr>
          <p:cNvSpPr>
            <a:spLocks/>
          </p:cNvSpPr>
          <p:nvPr/>
        </p:nvSpPr>
        <p:spPr>
          <a:xfrm>
            <a:off x="695326" y="4952846"/>
            <a:ext cx="2121413" cy="1247929"/>
          </a:xfrm>
          <a:prstGeom prst="roundRect">
            <a:avLst>
              <a:gd name="adj" fmla="val 1387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Hyper-Personalisierung </a:t>
            </a:r>
            <a:endParaRPr lang="en-US" sz="1600">
              <a:solidFill>
                <a:schemeClr val="tx1"/>
              </a:solidFill>
            </a:endParaRPr>
          </a:p>
          <a:p>
            <a:pPr algn="ctr"/>
            <a:r>
              <a:rPr lang="de-DE" sz="1200">
                <a:solidFill>
                  <a:schemeClr val="tx1"/>
                </a:solidFill>
              </a:rPr>
              <a:t>durch Daten &amp; KI </a:t>
            </a:r>
            <a:endParaRPr lang="de-DE">
              <a:solidFill>
                <a:schemeClr val="tx1"/>
              </a:solidFill>
            </a:endParaRPr>
          </a:p>
        </p:txBody>
      </p:sp>
      <p:sp>
        <p:nvSpPr>
          <p:cNvPr id="34" name="Abgerundetes Rechteck 6">
            <a:extLst>
              <a:ext uri="{FF2B5EF4-FFF2-40B4-BE49-F238E27FC236}">
                <a16:creationId xmlns:a16="http://schemas.microsoft.com/office/drawing/2014/main" id="{6C33A27B-E9CB-7EB7-1666-CC8564B7A411}"/>
              </a:ext>
            </a:extLst>
          </p:cNvPr>
          <p:cNvSpPr>
            <a:spLocks/>
          </p:cNvSpPr>
          <p:nvPr/>
        </p:nvSpPr>
        <p:spPr>
          <a:xfrm>
            <a:off x="2888737" y="4952862"/>
            <a:ext cx="2121413" cy="1247913"/>
          </a:xfrm>
          <a:prstGeom prst="roundRect">
            <a:avLst>
              <a:gd name="adj" fmla="val 1387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Sinnökonomie </a:t>
            </a: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5" name="Abgerundetes Rechteck 6">
            <a:extLst>
              <a:ext uri="{FF2B5EF4-FFF2-40B4-BE49-F238E27FC236}">
                <a16:creationId xmlns:a16="http://schemas.microsoft.com/office/drawing/2014/main" id="{F71B8275-60F7-D19B-DD30-019988DE20CA}"/>
              </a:ext>
            </a:extLst>
          </p:cNvPr>
          <p:cNvSpPr>
            <a:spLocks/>
          </p:cNvSpPr>
          <p:nvPr/>
        </p:nvSpPr>
        <p:spPr>
          <a:xfrm>
            <a:off x="695325" y="3632917"/>
            <a:ext cx="2121413" cy="1238758"/>
          </a:xfrm>
          <a:prstGeom prst="roundRect">
            <a:avLst>
              <a:gd name="adj" fmla="val 13977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Fragile Liefernetzwerke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36" name="Abgerundetes Rechteck 6">
            <a:extLst>
              <a:ext uri="{FF2B5EF4-FFF2-40B4-BE49-F238E27FC236}">
                <a16:creationId xmlns:a16="http://schemas.microsoft.com/office/drawing/2014/main" id="{6B3E6AC2-CB95-6434-6644-61A0687AFC20}"/>
              </a:ext>
            </a:extLst>
          </p:cNvPr>
          <p:cNvSpPr>
            <a:spLocks/>
          </p:cNvSpPr>
          <p:nvPr/>
        </p:nvSpPr>
        <p:spPr>
          <a:xfrm>
            <a:off x="2888737" y="3642088"/>
            <a:ext cx="2121413" cy="1238758"/>
          </a:xfrm>
          <a:prstGeom prst="roundRect">
            <a:avLst>
              <a:gd name="adj" fmla="val 13977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sz="1600" b="1">
                <a:solidFill>
                  <a:schemeClr val="tx1"/>
                </a:solidFill>
              </a:rPr>
              <a:t>Zirkularität als Standard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5392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44444E-6 L -1.875E-6 0.0386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1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44444E-6 L -1.875E-6 0.03866 " pathEditMode="relative" rAng="0" ptsTypes="AA">
                                      <p:cBhvr>
                                        <p:cTn id="37" dur="10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5" grpId="0" animBg="1"/>
      <p:bldP spid="27" grpId="0" animBg="1"/>
      <p:bldP spid="28" grpId="0" animBg="1"/>
      <p:bldP spid="26" grpId="0"/>
      <p:bldP spid="26" grpId="1"/>
      <p:bldP spid="29" grpId="0"/>
      <p:bldP spid="29" grpId="1"/>
      <p:bldP spid="32" grpId="0" animBg="1"/>
      <p:bldP spid="33" grpId="0" animBg="1"/>
      <p:bldP spid="31" grpId="0" animBg="1"/>
      <p:bldP spid="34" grpId="0" animBg="1"/>
      <p:bldP spid="35" grpId="0" animBg="1"/>
      <p:bldP spid="3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6030ED-DE0F-6545-E606-116DA3A8F1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3A364B3-BB41-339C-03BA-EA2F3C3CE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3" progId="TCLayout.ActiveDocument.1">
                  <p:embed/>
                </p:oleObj>
              </mc:Choice>
              <mc:Fallback>
                <p:oleObj name="think-cell Folie" r:id="rId4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A364B3-BB41-339C-03BA-EA2F3C3CE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66" name="Picture 2">
            <a:extLst>
              <a:ext uri="{FF2B5EF4-FFF2-40B4-BE49-F238E27FC236}">
                <a16:creationId xmlns:a16="http://schemas.microsoft.com/office/drawing/2014/main" id="{AD9520BC-8230-4CC7-08D3-1DD13626E2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18" r="10988" b="20023"/>
          <a:stretch/>
        </p:blipFill>
        <p:spPr bwMode="auto">
          <a:xfrm>
            <a:off x="0" y="-5715"/>
            <a:ext cx="12192000" cy="6863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11DA44E3-57A8-DF67-21ED-CB791B89DEA2}"/>
              </a:ext>
            </a:extLst>
          </p:cNvPr>
          <p:cNvSpPr>
            <a:spLocks/>
          </p:cNvSpPr>
          <p:nvPr/>
        </p:nvSpPr>
        <p:spPr>
          <a:xfrm flipH="1">
            <a:off x="-8021" y="-5714"/>
            <a:ext cx="6960534" cy="6869429"/>
          </a:xfrm>
          <a:prstGeom prst="rect">
            <a:avLst/>
          </a:prstGeom>
          <a:gradFill>
            <a:gsLst>
              <a:gs pos="52300">
                <a:schemeClr val="accent6">
                  <a:alpha val="50000"/>
                </a:schemeClr>
              </a:gs>
              <a:gs pos="0">
                <a:schemeClr val="accent6">
                  <a:alpha val="0"/>
                </a:schemeClr>
              </a:gs>
              <a:gs pos="100000">
                <a:schemeClr val="accent6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B60205A2-1F64-0F55-0993-F5831567E4EA}"/>
              </a:ext>
            </a:extLst>
          </p:cNvPr>
          <p:cNvSpPr>
            <a:spLocks noChangeAspect="1"/>
          </p:cNvSpPr>
          <p:nvPr/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bg2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FC83F5B-3621-2C38-2315-80417728179D}"/>
              </a:ext>
            </a:extLst>
          </p:cNvPr>
          <p:cNvSpPr txBox="1">
            <a:spLocks/>
          </p:cNvSpPr>
          <p:nvPr/>
        </p:nvSpPr>
        <p:spPr>
          <a:xfrm>
            <a:off x="695325" y="2040892"/>
            <a:ext cx="6012099" cy="5539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3600" b="0" noProof="0">
                <a:solidFill>
                  <a:schemeClr val="bg2"/>
                </a:solidFill>
              </a:rPr>
              <a:t>sind keine Gegensätze.</a:t>
            </a:r>
            <a:endParaRPr lang="de-DE" sz="3600" b="0" noProof="0">
              <a:gradFill flip="none" rotWithShape="1">
                <a:gsLst>
                  <a:gs pos="59500">
                    <a:schemeClr val="accent4"/>
                  </a:gs>
                  <a:gs pos="29000">
                    <a:schemeClr val="accent2"/>
                  </a:gs>
                  <a:gs pos="90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1EB134DD-BAD4-3553-E863-16F393AAE404}"/>
              </a:ext>
            </a:extLst>
          </p:cNvPr>
          <p:cNvSpPr txBox="1">
            <a:spLocks/>
          </p:cNvSpPr>
          <p:nvPr/>
        </p:nvSpPr>
        <p:spPr>
          <a:xfrm>
            <a:off x="695325" y="3324237"/>
            <a:ext cx="7065767" cy="135421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4400" noProof="0">
                <a:gradFill flip="none" rotWithShape="1">
                  <a:gsLst>
                    <a:gs pos="50000">
                      <a:schemeClr val="accent4"/>
                    </a:gs>
                    <a:gs pos="0">
                      <a:schemeClr val="accent2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</a:rPr>
              <a:t>Sie verstärken </a:t>
            </a:r>
            <a:br>
              <a:rPr lang="de-DE" sz="4400" noProof="0">
                <a:gradFill flip="none" rotWithShape="1">
                  <a:gsLst>
                    <a:gs pos="50000">
                      <a:schemeClr val="accent4"/>
                    </a:gs>
                    <a:gs pos="0">
                      <a:schemeClr val="accent2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</a:rPr>
            </a:br>
            <a:r>
              <a:rPr lang="de-DE" sz="4400" noProof="0">
                <a:gradFill flip="none" rotWithShape="1">
                  <a:gsLst>
                    <a:gs pos="50000">
                      <a:schemeClr val="accent4"/>
                    </a:gs>
                    <a:gs pos="0">
                      <a:schemeClr val="accent2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</a:rPr>
              <a:t>sich gegenseitig.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5AD9E958-1691-6CBE-6091-3114FB015009}"/>
              </a:ext>
            </a:extLst>
          </p:cNvPr>
          <p:cNvSpPr txBox="1">
            <a:spLocks/>
          </p:cNvSpPr>
          <p:nvPr/>
        </p:nvSpPr>
        <p:spPr>
          <a:xfrm>
            <a:off x="695325" y="1352157"/>
            <a:ext cx="7254453" cy="5539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3600" noProof="0">
                <a:solidFill>
                  <a:schemeClr val="bg2"/>
                </a:solidFill>
              </a:rPr>
              <a:t>Digitalisierung &amp; Nachhaltigkeit</a:t>
            </a:r>
            <a:endParaRPr lang="de-DE" sz="3600" noProof="0">
              <a:gradFill flip="none" rotWithShape="1">
                <a:gsLst>
                  <a:gs pos="59500">
                    <a:schemeClr val="accent4"/>
                  </a:gs>
                  <a:gs pos="29000">
                    <a:schemeClr val="accent2"/>
                  </a:gs>
                  <a:gs pos="90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538381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0 L 2.70833E-6 0.0386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7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79167E-6 -3.33333E-6 L -0.05572 0.0007 " pathEditMode="relative" rAng="0" ptsTypes="AA">
                                      <p:cBhvr>
                                        <p:cTn id="19" dur="10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8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3" grpId="1"/>
      <p:bldP spid="14" grpId="0"/>
      <p:bldP spid="14" grpId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3202CC-25D0-67EB-50EC-93EA7F8982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EA4E78A-78A1-C93F-52DA-D29A0703DB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3" progId="TCLayout.ActiveDocument.1">
                  <p:embed/>
                </p:oleObj>
              </mc:Choice>
              <mc:Fallback>
                <p:oleObj name="think-cell Folie" r:id="rId4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A4E78A-78A1-C93F-52DA-D29A0703DB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6" name="Picture 2">
            <a:extLst>
              <a:ext uri="{FF2B5EF4-FFF2-40B4-BE49-F238E27FC236}">
                <a16:creationId xmlns:a16="http://schemas.microsoft.com/office/drawing/2014/main" id="{89ED5E29-C87C-D85E-DDC4-30A89A0E98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42" r="5882" b="1960"/>
          <a:stretch/>
        </p:blipFill>
        <p:spPr bwMode="auto">
          <a:xfrm>
            <a:off x="-1" y="-5715"/>
            <a:ext cx="12192002" cy="6863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675EF22D-3335-C4B5-9633-045D37DE84C0}"/>
              </a:ext>
            </a:extLst>
          </p:cNvPr>
          <p:cNvGrpSpPr/>
          <p:nvPr/>
        </p:nvGrpSpPr>
        <p:grpSpPr>
          <a:xfrm>
            <a:off x="0" y="-5714"/>
            <a:ext cx="9850521" cy="6869429"/>
            <a:chOff x="0" y="-5714"/>
            <a:chExt cx="9850521" cy="6869429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4D43CBC8-C85A-8FC9-A26B-4A1D97592D5E}"/>
                </a:ext>
              </a:extLst>
            </p:cNvPr>
            <p:cNvSpPr>
              <a:spLocks/>
            </p:cNvSpPr>
            <p:nvPr/>
          </p:nvSpPr>
          <p:spPr>
            <a:xfrm>
              <a:off x="0" y="-5714"/>
              <a:ext cx="9850521" cy="6869429"/>
            </a:xfrm>
            <a:prstGeom prst="rect">
              <a:avLst/>
            </a:prstGeom>
            <a:gradFill flip="none" rotWithShape="1">
              <a:gsLst>
                <a:gs pos="69000">
                  <a:schemeClr val="accent6">
                    <a:alpha val="50000"/>
                  </a:schemeClr>
                </a:gs>
                <a:gs pos="0">
                  <a:schemeClr val="accent6">
                    <a:alpha val="0"/>
                  </a:schemeClr>
                </a:gs>
                <a:gs pos="100000">
                  <a:schemeClr val="accent6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D01CB0CF-4D33-9366-C220-4F8A36FDC108}"/>
                </a:ext>
              </a:extLst>
            </p:cNvPr>
            <p:cNvSpPr>
              <a:spLocks/>
            </p:cNvSpPr>
            <p:nvPr/>
          </p:nvSpPr>
          <p:spPr>
            <a:xfrm>
              <a:off x="0" y="-5714"/>
              <a:ext cx="9850521" cy="6869429"/>
            </a:xfrm>
            <a:prstGeom prst="rect">
              <a:avLst/>
            </a:prstGeom>
            <a:gradFill flip="none" rotWithShape="1">
              <a:gsLst>
                <a:gs pos="69000">
                  <a:schemeClr val="accent6">
                    <a:alpha val="50000"/>
                  </a:schemeClr>
                </a:gs>
                <a:gs pos="52000">
                  <a:schemeClr val="accent6">
                    <a:alpha val="0"/>
                  </a:schemeClr>
                </a:gs>
                <a:gs pos="100000">
                  <a:schemeClr val="accent6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99D5134F-231C-732E-9629-4EFD032C70C1}"/>
              </a:ext>
            </a:extLst>
          </p:cNvPr>
          <p:cNvSpPr>
            <a:spLocks noChangeAspect="1"/>
          </p:cNvSpPr>
          <p:nvPr/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bg2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BD195E73-CBA0-BA06-18E9-9B237F765941}"/>
              </a:ext>
            </a:extLst>
          </p:cNvPr>
          <p:cNvSpPr txBox="1">
            <a:spLocks/>
          </p:cNvSpPr>
          <p:nvPr/>
        </p:nvSpPr>
        <p:spPr>
          <a:xfrm>
            <a:off x="686327" y="3462106"/>
            <a:ext cx="7369101" cy="738664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4800">
                <a:solidFill>
                  <a:schemeClr val="bg2"/>
                </a:solidFill>
              </a:rPr>
              <a:t>Unsere Entscheidungen</a:t>
            </a:r>
            <a:endParaRPr lang="de-DE" sz="4800" noProof="0">
              <a:gradFill flip="none" rotWithShape="1">
                <a:gsLst>
                  <a:gs pos="59500">
                    <a:schemeClr val="accent4"/>
                  </a:gs>
                  <a:gs pos="29000">
                    <a:schemeClr val="accent2"/>
                  </a:gs>
                  <a:gs pos="90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2C3D6891-518C-F628-15EC-CE419525749F}"/>
              </a:ext>
            </a:extLst>
          </p:cNvPr>
          <p:cNvSpPr txBox="1">
            <a:spLocks/>
          </p:cNvSpPr>
          <p:nvPr/>
        </p:nvSpPr>
        <p:spPr>
          <a:xfrm>
            <a:off x="686327" y="4195342"/>
            <a:ext cx="7369101" cy="738664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4800">
                <a:solidFill>
                  <a:schemeClr val="bg2"/>
                </a:solidFill>
              </a:rPr>
              <a:t>heute</a:t>
            </a:r>
            <a:endParaRPr lang="de-DE" sz="4800" noProof="0">
              <a:gradFill flip="none" rotWithShape="1">
                <a:gsLst>
                  <a:gs pos="59500">
                    <a:schemeClr val="accent4"/>
                  </a:gs>
                  <a:gs pos="29000">
                    <a:schemeClr val="accent2"/>
                  </a:gs>
                  <a:gs pos="90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4335033B-7DFA-B737-917F-CEE04B2E26E7}"/>
              </a:ext>
            </a:extLst>
          </p:cNvPr>
          <p:cNvSpPr txBox="1">
            <a:spLocks/>
          </p:cNvSpPr>
          <p:nvPr/>
        </p:nvSpPr>
        <p:spPr>
          <a:xfrm>
            <a:off x="2801862" y="4928579"/>
            <a:ext cx="2494786" cy="738664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4800" noProof="0">
                <a:gradFill flip="none" rotWithShape="1">
                  <a:gsLst>
                    <a:gs pos="50000">
                      <a:schemeClr val="accent4"/>
                    </a:gs>
                    <a:gs pos="0">
                      <a:schemeClr val="accent2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</a:rPr>
              <a:t>Zukunft.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67A352D-AC1C-0B9A-5F0E-07CAEEFB7F8E}"/>
              </a:ext>
            </a:extLst>
          </p:cNvPr>
          <p:cNvSpPr txBox="1">
            <a:spLocks/>
          </p:cNvSpPr>
          <p:nvPr/>
        </p:nvSpPr>
        <p:spPr>
          <a:xfrm>
            <a:off x="686328" y="4928579"/>
            <a:ext cx="3580872" cy="73866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4800" noProof="0">
                <a:solidFill>
                  <a:schemeClr val="bg2"/>
                </a:solidFill>
              </a:rPr>
              <a:t>unser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7141B52-3E45-5B0D-CE01-470B255572A0}"/>
              </a:ext>
            </a:extLst>
          </p:cNvPr>
          <p:cNvSpPr txBox="1">
            <a:spLocks/>
          </p:cNvSpPr>
          <p:nvPr/>
        </p:nvSpPr>
        <p:spPr>
          <a:xfrm>
            <a:off x="2598060" y="4195342"/>
            <a:ext cx="7369101" cy="738664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4800">
                <a:solidFill>
                  <a:schemeClr val="bg2"/>
                </a:solidFill>
              </a:rPr>
              <a:t>bestimmen</a:t>
            </a:r>
            <a:endParaRPr lang="de-DE" sz="4800" noProof="0">
              <a:gradFill flip="none" rotWithShape="1">
                <a:gsLst>
                  <a:gs pos="59500">
                    <a:schemeClr val="accent4"/>
                  </a:gs>
                  <a:gs pos="29000">
                    <a:schemeClr val="accent2"/>
                  </a:gs>
                  <a:gs pos="90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57239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58333E-6 -3.7037E-6 L -4.58333E-6 0.03866 " pathEditMode="relative" rAng="0" ptsTypes="AA">
                                      <p:cBhvr>
                                        <p:cTn id="22" dur="10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9" grpId="0"/>
      <p:bldP spid="20" grpId="0"/>
      <p:bldP spid="20" grpId="1"/>
      <p:bldP spid="23" grpId="0"/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B5872B-AF4F-82D7-2112-250D50C5CD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5FD3F1B-3BDD-9EA9-2496-16471599B5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FD3F1B-3BDD-9EA9-2496-16471599B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E320257F-09EB-5E76-A4D4-88CC4E677204}"/>
              </a:ext>
            </a:extLst>
          </p:cNvPr>
          <p:cNvGrpSpPr/>
          <p:nvPr/>
        </p:nvGrpSpPr>
        <p:grpSpPr>
          <a:xfrm>
            <a:off x="1652035" y="1001964"/>
            <a:ext cx="9860682" cy="4738887"/>
            <a:chOff x="1652035" y="1001964"/>
            <a:chExt cx="9860682" cy="4738887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B730604-4FC0-89EF-94FC-D9BA604D03D2}"/>
                </a:ext>
              </a:extLst>
            </p:cNvPr>
            <p:cNvGrpSpPr/>
            <p:nvPr/>
          </p:nvGrpSpPr>
          <p:grpSpPr>
            <a:xfrm rot="19648923" flipH="1">
              <a:off x="1652035" y="2341982"/>
              <a:ext cx="9860682" cy="3398869"/>
              <a:chOff x="-5934591" y="887543"/>
              <a:chExt cx="19876402" cy="6851183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B04F4E3C-A527-FD22-2033-46D66337A5B9}"/>
                  </a:ext>
                </a:extLst>
              </p:cNvPr>
              <p:cNvSpPr/>
              <p:nvPr/>
            </p:nvSpPr>
            <p:spPr>
              <a:xfrm rot="4500000">
                <a:off x="1713410" y="-4276602"/>
                <a:ext cx="4367327" cy="19663330"/>
              </a:xfrm>
              <a:custGeom>
                <a:avLst/>
                <a:gdLst>
                  <a:gd name="connsiteX0" fmla="*/ 26481458 w 26733102"/>
                  <a:gd name="connsiteY0" fmla="*/ 19947950 h 21990907"/>
                  <a:gd name="connsiteX1" fmla="*/ 19712774 w 26733102"/>
                  <a:gd name="connsiteY1" fmla="*/ 21486844 h 21990907"/>
                  <a:gd name="connsiteX2" fmla="*/ 10024416 w 26733102"/>
                  <a:gd name="connsiteY2" fmla="*/ 16203725 h 21990907"/>
                  <a:gd name="connsiteX3" fmla="*/ 2436110 w 26733102"/>
                  <a:gd name="connsiteY3" fmla="*/ 9045649 h 21990907"/>
                  <a:gd name="connsiteX4" fmla="*/ 95089 w 26733102"/>
                  <a:gd name="connsiteY4" fmla="*/ 3334223 h 21990907"/>
                  <a:gd name="connsiteX5" fmla="*/ 10954566 w 26733102"/>
                  <a:gd name="connsiteY5" fmla="*/ 17898 h 21990907"/>
                  <a:gd name="connsiteX6" fmla="*/ 22304112 w 26733102"/>
                  <a:gd name="connsiteY6" fmla="*/ 2417469 h 21990907"/>
                  <a:gd name="connsiteX7" fmla="*/ 22803116 w 26733102"/>
                  <a:gd name="connsiteY7" fmla="*/ 8093541 h 21990907"/>
                  <a:gd name="connsiteX8" fmla="*/ 23870616 w 26733102"/>
                  <a:gd name="connsiteY8" fmla="*/ 14286506 h 21990907"/>
                  <a:gd name="connsiteX9" fmla="*/ 26481458 w 26733102"/>
                  <a:gd name="connsiteY9" fmla="*/ 19947950 h 21990907"/>
                  <a:gd name="connsiteX10" fmla="*/ 26481458 w 26733102"/>
                  <a:gd name="connsiteY10" fmla="*/ 19947950 h 21990907"/>
                  <a:gd name="connsiteX0" fmla="*/ 10024416 w 26733102"/>
                  <a:gd name="connsiteY0" fmla="*/ 16203725 h 21990907"/>
                  <a:gd name="connsiteX1" fmla="*/ 2436110 w 26733102"/>
                  <a:gd name="connsiteY1" fmla="*/ 9045649 h 21990907"/>
                  <a:gd name="connsiteX2" fmla="*/ 95089 w 26733102"/>
                  <a:gd name="connsiteY2" fmla="*/ 3334223 h 21990907"/>
                  <a:gd name="connsiteX3" fmla="*/ 10954566 w 26733102"/>
                  <a:gd name="connsiteY3" fmla="*/ 17898 h 21990907"/>
                  <a:gd name="connsiteX4" fmla="*/ 22304112 w 26733102"/>
                  <a:gd name="connsiteY4" fmla="*/ 2417469 h 21990907"/>
                  <a:gd name="connsiteX5" fmla="*/ 22803116 w 26733102"/>
                  <a:gd name="connsiteY5" fmla="*/ 8093541 h 21990907"/>
                  <a:gd name="connsiteX6" fmla="*/ 23870616 w 26733102"/>
                  <a:gd name="connsiteY6" fmla="*/ 14286506 h 21990907"/>
                  <a:gd name="connsiteX7" fmla="*/ 26481458 w 26733102"/>
                  <a:gd name="connsiteY7" fmla="*/ 19947950 h 21990907"/>
                  <a:gd name="connsiteX8" fmla="*/ 26481458 w 26733102"/>
                  <a:gd name="connsiteY8" fmla="*/ 19947950 h 21990907"/>
                  <a:gd name="connsiteX9" fmla="*/ 19712774 w 26733102"/>
                  <a:gd name="connsiteY9" fmla="*/ 21486844 h 21990907"/>
                  <a:gd name="connsiteX10" fmla="*/ 10233032 w 26733102"/>
                  <a:gd name="connsiteY10" fmla="*/ 16412341 h 21990907"/>
                  <a:gd name="connsiteX0" fmla="*/ 10024416 w 26733102"/>
                  <a:gd name="connsiteY0" fmla="*/ 16203725 h 21990907"/>
                  <a:gd name="connsiteX1" fmla="*/ 2436110 w 26733102"/>
                  <a:gd name="connsiteY1" fmla="*/ 9045649 h 21990907"/>
                  <a:gd name="connsiteX2" fmla="*/ 95089 w 26733102"/>
                  <a:gd name="connsiteY2" fmla="*/ 3334223 h 21990907"/>
                  <a:gd name="connsiteX3" fmla="*/ 10954566 w 26733102"/>
                  <a:gd name="connsiteY3" fmla="*/ 17898 h 21990907"/>
                  <a:gd name="connsiteX4" fmla="*/ 22304112 w 26733102"/>
                  <a:gd name="connsiteY4" fmla="*/ 2417469 h 21990907"/>
                  <a:gd name="connsiteX5" fmla="*/ 22803116 w 26733102"/>
                  <a:gd name="connsiteY5" fmla="*/ 8093541 h 21990907"/>
                  <a:gd name="connsiteX6" fmla="*/ 23870616 w 26733102"/>
                  <a:gd name="connsiteY6" fmla="*/ 14286506 h 21990907"/>
                  <a:gd name="connsiteX7" fmla="*/ 26481458 w 26733102"/>
                  <a:gd name="connsiteY7" fmla="*/ 19947950 h 21990907"/>
                  <a:gd name="connsiteX8" fmla="*/ 26481458 w 26733102"/>
                  <a:gd name="connsiteY8" fmla="*/ 19947950 h 21990907"/>
                  <a:gd name="connsiteX9" fmla="*/ 19712774 w 26733102"/>
                  <a:gd name="connsiteY9" fmla="*/ 21486844 h 21990907"/>
                  <a:gd name="connsiteX0" fmla="*/ 2436110 w 26733102"/>
                  <a:gd name="connsiteY0" fmla="*/ 9045649 h 21990907"/>
                  <a:gd name="connsiteX1" fmla="*/ 95089 w 26733102"/>
                  <a:gd name="connsiteY1" fmla="*/ 3334223 h 21990907"/>
                  <a:gd name="connsiteX2" fmla="*/ 10954566 w 26733102"/>
                  <a:gd name="connsiteY2" fmla="*/ 17898 h 21990907"/>
                  <a:gd name="connsiteX3" fmla="*/ 22304112 w 26733102"/>
                  <a:gd name="connsiteY3" fmla="*/ 2417469 h 21990907"/>
                  <a:gd name="connsiteX4" fmla="*/ 22803116 w 26733102"/>
                  <a:gd name="connsiteY4" fmla="*/ 8093541 h 21990907"/>
                  <a:gd name="connsiteX5" fmla="*/ 23870616 w 26733102"/>
                  <a:gd name="connsiteY5" fmla="*/ 14286506 h 21990907"/>
                  <a:gd name="connsiteX6" fmla="*/ 26481458 w 26733102"/>
                  <a:gd name="connsiteY6" fmla="*/ 19947950 h 21990907"/>
                  <a:gd name="connsiteX7" fmla="*/ 26481458 w 26733102"/>
                  <a:gd name="connsiteY7" fmla="*/ 19947950 h 21990907"/>
                  <a:gd name="connsiteX8" fmla="*/ 19712774 w 26733102"/>
                  <a:gd name="connsiteY8" fmla="*/ 21486844 h 21990907"/>
                  <a:gd name="connsiteX0" fmla="*/ 0 w 26638013"/>
                  <a:gd name="connsiteY0" fmla="*/ 3334223 h 21990907"/>
                  <a:gd name="connsiteX1" fmla="*/ 10859477 w 26638013"/>
                  <a:gd name="connsiteY1" fmla="*/ 17898 h 21990907"/>
                  <a:gd name="connsiteX2" fmla="*/ 22209023 w 26638013"/>
                  <a:gd name="connsiteY2" fmla="*/ 2417469 h 21990907"/>
                  <a:gd name="connsiteX3" fmla="*/ 22708027 w 26638013"/>
                  <a:gd name="connsiteY3" fmla="*/ 8093541 h 21990907"/>
                  <a:gd name="connsiteX4" fmla="*/ 23775527 w 26638013"/>
                  <a:gd name="connsiteY4" fmla="*/ 14286506 h 21990907"/>
                  <a:gd name="connsiteX5" fmla="*/ 26386369 w 26638013"/>
                  <a:gd name="connsiteY5" fmla="*/ 19947950 h 21990907"/>
                  <a:gd name="connsiteX6" fmla="*/ 26386369 w 26638013"/>
                  <a:gd name="connsiteY6" fmla="*/ 19947950 h 21990907"/>
                  <a:gd name="connsiteX7" fmla="*/ 19617685 w 26638013"/>
                  <a:gd name="connsiteY7" fmla="*/ 21486844 h 21990907"/>
                  <a:gd name="connsiteX0" fmla="*/ 0 w 15778536"/>
                  <a:gd name="connsiteY0" fmla="*/ 0 h 21973009"/>
                  <a:gd name="connsiteX1" fmla="*/ 11349546 w 15778536"/>
                  <a:gd name="connsiteY1" fmla="*/ 2399571 h 21973009"/>
                  <a:gd name="connsiteX2" fmla="*/ 11848550 w 15778536"/>
                  <a:gd name="connsiteY2" fmla="*/ 8075643 h 21973009"/>
                  <a:gd name="connsiteX3" fmla="*/ 12916050 w 15778536"/>
                  <a:gd name="connsiteY3" fmla="*/ 14268608 h 21973009"/>
                  <a:gd name="connsiteX4" fmla="*/ 15526892 w 15778536"/>
                  <a:gd name="connsiteY4" fmla="*/ 19930052 h 21973009"/>
                  <a:gd name="connsiteX5" fmla="*/ 15526892 w 15778536"/>
                  <a:gd name="connsiteY5" fmla="*/ 19930052 h 21973009"/>
                  <a:gd name="connsiteX6" fmla="*/ 8758208 w 15778536"/>
                  <a:gd name="connsiteY6" fmla="*/ 21468946 h 21973009"/>
                  <a:gd name="connsiteX0" fmla="*/ 2591338 w 7020328"/>
                  <a:gd name="connsiteY0" fmla="*/ 0 h 19573438"/>
                  <a:gd name="connsiteX1" fmla="*/ 3090342 w 7020328"/>
                  <a:gd name="connsiteY1" fmla="*/ 5676072 h 19573438"/>
                  <a:gd name="connsiteX2" fmla="*/ 4157842 w 7020328"/>
                  <a:gd name="connsiteY2" fmla="*/ 11869037 h 19573438"/>
                  <a:gd name="connsiteX3" fmla="*/ 6768684 w 7020328"/>
                  <a:gd name="connsiteY3" fmla="*/ 17530481 h 19573438"/>
                  <a:gd name="connsiteX4" fmla="*/ 6768684 w 7020328"/>
                  <a:gd name="connsiteY4" fmla="*/ 17530481 h 19573438"/>
                  <a:gd name="connsiteX5" fmla="*/ 0 w 7020328"/>
                  <a:gd name="connsiteY5" fmla="*/ 19069375 h 19573438"/>
                  <a:gd name="connsiteX0" fmla="*/ 2591338 w 7020328"/>
                  <a:gd name="connsiteY0" fmla="*/ 0 h 19613440"/>
                  <a:gd name="connsiteX1" fmla="*/ 3090342 w 7020328"/>
                  <a:gd name="connsiteY1" fmla="*/ 5676072 h 19613440"/>
                  <a:gd name="connsiteX2" fmla="*/ 4157842 w 7020328"/>
                  <a:gd name="connsiteY2" fmla="*/ 11869037 h 19613440"/>
                  <a:gd name="connsiteX3" fmla="*/ 6768684 w 7020328"/>
                  <a:gd name="connsiteY3" fmla="*/ 17530481 h 19613440"/>
                  <a:gd name="connsiteX4" fmla="*/ 6768684 w 7020328"/>
                  <a:gd name="connsiteY4" fmla="*/ 17530481 h 19613440"/>
                  <a:gd name="connsiteX5" fmla="*/ 3046559 w 7020328"/>
                  <a:gd name="connsiteY5" fmla="*/ 19554647 h 19613440"/>
                  <a:gd name="connsiteX6" fmla="*/ 0 w 7020328"/>
                  <a:gd name="connsiteY6" fmla="*/ 19069375 h 19613440"/>
                  <a:gd name="connsiteX0" fmla="*/ 2591338 w 7020328"/>
                  <a:gd name="connsiteY0" fmla="*/ 0 h 19613440"/>
                  <a:gd name="connsiteX1" fmla="*/ 3090342 w 7020328"/>
                  <a:gd name="connsiteY1" fmla="*/ 5676072 h 19613440"/>
                  <a:gd name="connsiteX2" fmla="*/ 4157842 w 7020328"/>
                  <a:gd name="connsiteY2" fmla="*/ 11869037 h 19613440"/>
                  <a:gd name="connsiteX3" fmla="*/ 6768684 w 7020328"/>
                  <a:gd name="connsiteY3" fmla="*/ 17530481 h 19613440"/>
                  <a:gd name="connsiteX4" fmla="*/ 6768684 w 7020328"/>
                  <a:gd name="connsiteY4" fmla="*/ 17530481 h 19613440"/>
                  <a:gd name="connsiteX5" fmla="*/ 3046559 w 7020328"/>
                  <a:gd name="connsiteY5" fmla="*/ 19554647 h 19613440"/>
                  <a:gd name="connsiteX6" fmla="*/ 0 w 7020328"/>
                  <a:gd name="connsiteY6" fmla="*/ 19069375 h 19613440"/>
                  <a:gd name="connsiteX0" fmla="*/ 2591338 w 7020328"/>
                  <a:gd name="connsiteY0" fmla="*/ 0 h 19613440"/>
                  <a:gd name="connsiteX1" fmla="*/ 3090342 w 7020328"/>
                  <a:gd name="connsiteY1" fmla="*/ 5676072 h 19613440"/>
                  <a:gd name="connsiteX2" fmla="*/ 4157842 w 7020328"/>
                  <a:gd name="connsiteY2" fmla="*/ 11869037 h 19613440"/>
                  <a:gd name="connsiteX3" fmla="*/ 6768684 w 7020328"/>
                  <a:gd name="connsiteY3" fmla="*/ 17530481 h 19613440"/>
                  <a:gd name="connsiteX4" fmla="*/ 6768684 w 7020328"/>
                  <a:gd name="connsiteY4" fmla="*/ 17530481 h 19613440"/>
                  <a:gd name="connsiteX5" fmla="*/ 3046559 w 7020328"/>
                  <a:gd name="connsiteY5" fmla="*/ 19554647 h 19613440"/>
                  <a:gd name="connsiteX6" fmla="*/ 0 w 7020328"/>
                  <a:gd name="connsiteY6" fmla="*/ 19069375 h 19613440"/>
                  <a:gd name="connsiteX0" fmla="*/ 2591338 w 7020328"/>
                  <a:gd name="connsiteY0" fmla="*/ 0 h 19613440"/>
                  <a:gd name="connsiteX1" fmla="*/ 3090342 w 7020328"/>
                  <a:gd name="connsiteY1" fmla="*/ 5676072 h 19613440"/>
                  <a:gd name="connsiteX2" fmla="*/ 4157842 w 7020328"/>
                  <a:gd name="connsiteY2" fmla="*/ 11869037 h 19613440"/>
                  <a:gd name="connsiteX3" fmla="*/ 6768684 w 7020328"/>
                  <a:gd name="connsiteY3" fmla="*/ 17530481 h 19613440"/>
                  <a:gd name="connsiteX4" fmla="*/ 6768684 w 7020328"/>
                  <a:gd name="connsiteY4" fmla="*/ 17530481 h 19613440"/>
                  <a:gd name="connsiteX5" fmla="*/ 3046559 w 7020328"/>
                  <a:gd name="connsiteY5" fmla="*/ 19554647 h 19613440"/>
                  <a:gd name="connsiteX6" fmla="*/ 0 w 7020328"/>
                  <a:gd name="connsiteY6" fmla="*/ 19069375 h 19613440"/>
                  <a:gd name="connsiteX0" fmla="*/ 2591338 w 7550242"/>
                  <a:gd name="connsiteY0" fmla="*/ 0 h 19613440"/>
                  <a:gd name="connsiteX1" fmla="*/ 3090342 w 7550242"/>
                  <a:gd name="connsiteY1" fmla="*/ 5676072 h 19613440"/>
                  <a:gd name="connsiteX2" fmla="*/ 4157842 w 7550242"/>
                  <a:gd name="connsiteY2" fmla="*/ 11869037 h 19613440"/>
                  <a:gd name="connsiteX3" fmla="*/ 6768684 w 7550242"/>
                  <a:gd name="connsiteY3" fmla="*/ 17530481 h 19613440"/>
                  <a:gd name="connsiteX4" fmla="*/ 7550241 w 7550242"/>
                  <a:gd name="connsiteY4" fmla="*/ 18176171 h 19613440"/>
                  <a:gd name="connsiteX5" fmla="*/ 3046559 w 7550242"/>
                  <a:gd name="connsiteY5" fmla="*/ 19554647 h 19613440"/>
                  <a:gd name="connsiteX6" fmla="*/ 0 w 7550242"/>
                  <a:gd name="connsiteY6" fmla="*/ 19069375 h 19613440"/>
                  <a:gd name="connsiteX0" fmla="*/ 2591338 w 7020328"/>
                  <a:gd name="connsiteY0" fmla="*/ 0 h 19613440"/>
                  <a:gd name="connsiteX1" fmla="*/ 3090342 w 7020328"/>
                  <a:gd name="connsiteY1" fmla="*/ 5676072 h 19613440"/>
                  <a:gd name="connsiteX2" fmla="*/ 4157842 w 7020328"/>
                  <a:gd name="connsiteY2" fmla="*/ 11869037 h 19613440"/>
                  <a:gd name="connsiteX3" fmla="*/ 6768684 w 7020328"/>
                  <a:gd name="connsiteY3" fmla="*/ 17530481 h 19613440"/>
                  <a:gd name="connsiteX4" fmla="*/ 3046559 w 7020328"/>
                  <a:gd name="connsiteY4" fmla="*/ 19554647 h 19613440"/>
                  <a:gd name="connsiteX5" fmla="*/ 0 w 7020328"/>
                  <a:gd name="connsiteY5" fmla="*/ 19069375 h 19613440"/>
                  <a:gd name="connsiteX0" fmla="*/ 2591338 w 7420530"/>
                  <a:gd name="connsiteY0" fmla="*/ 0 h 19613440"/>
                  <a:gd name="connsiteX1" fmla="*/ 3090342 w 7420530"/>
                  <a:gd name="connsiteY1" fmla="*/ 5676072 h 19613440"/>
                  <a:gd name="connsiteX2" fmla="*/ 4157842 w 7420530"/>
                  <a:gd name="connsiteY2" fmla="*/ 11869037 h 19613440"/>
                  <a:gd name="connsiteX3" fmla="*/ 6768684 w 7420530"/>
                  <a:gd name="connsiteY3" fmla="*/ 17530481 h 19613440"/>
                  <a:gd name="connsiteX4" fmla="*/ 3046559 w 7420530"/>
                  <a:gd name="connsiteY4" fmla="*/ 19554647 h 19613440"/>
                  <a:gd name="connsiteX5" fmla="*/ 0 w 7420530"/>
                  <a:gd name="connsiteY5" fmla="*/ 19069375 h 19613440"/>
                  <a:gd name="connsiteX0" fmla="*/ 2591338 w 7040058"/>
                  <a:gd name="connsiteY0" fmla="*/ 0 h 19613440"/>
                  <a:gd name="connsiteX1" fmla="*/ 3090342 w 7040058"/>
                  <a:gd name="connsiteY1" fmla="*/ 5676072 h 19613440"/>
                  <a:gd name="connsiteX2" fmla="*/ 4157842 w 7040058"/>
                  <a:gd name="connsiteY2" fmla="*/ 11869037 h 19613440"/>
                  <a:gd name="connsiteX3" fmla="*/ 6768684 w 7040058"/>
                  <a:gd name="connsiteY3" fmla="*/ 17530481 h 19613440"/>
                  <a:gd name="connsiteX4" fmla="*/ 3046559 w 7040058"/>
                  <a:gd name="connsiteY4" fmla="*/ 19554647 h 19613440"/>
                  <a:gd name="connsiteX5" fmla="*/ 0 w 7040058"/>
                  <a:gd name="connsiteY5" fmla="*/ 19069375 h 19613440"/>
                  <a:gd name="connsiteX0" fmla="*/ 2591338 w 7040058"/>
                  <a:gd name="connsiteY0" fmla="*/ 0 h 19613440"/>
                  <a:gd name="connsiteX1" fmla="*/ 3090342 w 7040058"/>
                  <a:gd name="connsiteY1" fmla="*/ 5676072 h 19613440"/>
                  <a:gd name="connsiteX2" fmla="*/ 4157842 w 7040058"/>
                  <a:gd name="connsiteY2" fmla="*/ 11869037 h 19613440"/>
                  <a:gd name="connsiteX3" fmla="*/ 6768684 w 7040058"/>
                  <a:gd name="connsiteY3" fmla="*/ 17530481 h 19613440"/>
                  <a:gd name="connsiteX4" fmla="*/ 3046559 w 7040058"/>
                  <a:gd name="connsiteY4" fmla="*/ 19554647 h 19613440"/>
                  <a:gd name="connsiteX5" fmla="*/ 0 w 7040058"/>
                  <a:gd name="connsiteY5" fmla="*/ 19069375 h 19613440"/>
                  <a:gd name="connsiteX0" fmla="*/ 331942 w 4780662"/>
                  <a:gd name="connsiteY0" fmla="*/ 0 h 19554647"/>
                  <a:gd name="connsiteX1" fmla="*/ 830946 w 4780662"/>
                  <a:gd name="connsiteY1" fmla="*/ 5676072 h 19554647"/>
                  <a:gd name="connsiteX2" fmla="*/ 1898446 w 4780662"/>
                  <a:gd name="connsiteY2" fmla="*/ 11869037 h 19554647"/>
                  <a:gd name="connsiteX3" fmla="*/ 4509288 w 4780662"/>
                  <a:gd name="connsiteY3" fmla="*/ 17530481 h 19554647"/>
                  <a:gd name="connsiteX4" fmla="*/ 787163 w 4780662"/>
                  <a:gd name="connsiteY4" fmla="*/ 19554647 h 19554647"/>
                  <a:gd name="connsiteX0" fmla="*/ 331942 w 4548517"/>
                  <a:gd name="connsiteY0" fmla="*/ 0 h 19848745"/>
                  <a:gd name="connsiteX1" fmla="*/ 830946 w 4548517"/>
                  <a:gd name="connsiteY1" fmla="*/ 5676072 h 19848745"/>
                  <a:gd name="connsiteX2" fmla="*/ 1898446 w 4548517"/>
                  <a:gd name="connsiteY2" fmla="*/ 11869037 h 19848745"/>
                  <a:gd name="connsiteX3" fmla="*/ 4509288 w 4548517"/>
                  <a:gd name="connsiteY3" fmla="*/ 17530481 h 19848745"/>
                  <a:gd name="connsiteX4" fmla="*/ 448913 w 4548517"/>
                  <a:gd name="connsiteY4" fmla="*/ 19848744 h 19848745"/>
                  <a:gd name="connsiteX0" fmla="*/ 331942 w 4550920"/>
                  <a:gd name="connsiteY0" fmla="*/ 0 h 19788918"/>
                  <a:gd name="connsiteX1" fmla="*/ 830946 w 4550920"/>
                  <a:gd name="connsiteY1" fmla="*/ 5676072 h 19788918"/>
                  <a:gd name="connsiteX2" fmla="*/ 1898446 w 4550920"/>
                  <a:gd name="connsiteY2" fmla="*/ 11869037 h 19788918"/>
                  <a:gd name="connsiteX3" fmla="*/ 4509288 w 4550920"/>
                  <a:gd name="connsiteY3" fmla="*/ 17530481 h 19788918"/>
                  <a:gd name="connsiteX4" fmla="*/ 393630 w 4550920"/>
                  <a:gd name="connsiteY4" fmla="*/ 19788919 h 19788918"/>
                  <a:gd name="connsiteX0" fmla="*/ 331942 w 4550920"/>
                  <a:gd name="connsiteY0" fmla="*/ 0 h 19817801"/>
                  <a:gd name="connsiteX1" fmla="*/ 830946 w 4550920"/>
                  <a:gd name="connsiteY1" fmla="*/ 5676072 h 19817801"/>
                  <a:gd name="connsiteX2" fmla="*/ 1898446 w 4550920"/>
                  <a:gd name="connsiteY2" fmla="*/ 11869037 h 19817801"/>
                  <a:gd name="connsiteX3" fmla="*/ 4509288 w 4550920"/>
                  <a:gd name="connsiteY3" fmla="*/ 17530481 h 19817801"/>
                  <a:gd name="connsiteX4" fmla="*/ 393630 w 4550920"/>
                  <a:gd name="connsiteY4" fmla="*/ 19788919 h 19817801"/>
                  <a:gd name="connsiteX0" fmla="*/ 331942 w 4598368"/>
                  <a:gd name="connsiteY0" fmla="*/ 0 h 19830956"/>
                  <a:gd name="connsiteX1" fmla="*/ 830946 w 4598368"/>
                  <a:gd name="connsiteY1" fmla="*/ 5676072 h 19830956"/>
                  <a:gd name="connsiteX2" fmla="*/ 1898446 w 4598368"/>
                  <a:gd name="connsiteY2" fmla="*/ 11869037 h 19830956"/>
                  <a:gd name="connsiteX3" fmla="*/ 4509288 w 4598368"/>
                  <a:gd name="connsiteY3" fmla="*/ 17530481 h 19830956"/>
                  <a:gd name="connsiteX4" fmla="*/ 393630 w 4598368"/>
                  <a:gd name="connsiteY4" fmla="*/ 19788919 h 19830956"/>
                  <a:gd name="connsiteX0" fmla="*/ 331942 w 4568648"/>
                  <a:gd name="connsiteY0" fmla="*/ 0 h 19824780"/>
                  <a:gd name="connsiteX1" fmla="*/ 830946 w 4568648"/>
                  <a:gd name="connsiteY1" fmla="*/ 5676072 h 19824780"/>
                  <a:gd name="connsiteX2" fmla="*/ 1898446 w 4568648"/>
                  <a:gd name="connsiteY2" fmla="*/ 11869037 h 19824780"/>
                  <a:gd name="connsiteX3" fmla="*/ 4477730 w 4568648"/>
                  <a:gd name="connsiteY3" fmla="*/ 17356303 h 19824780"/>
                  <a:gd name="connsiteX4" fmla="*/ 393630 w 4568648"/>
                  <a:gd name="connsiteY4" fmla="*/ 19788919 h 19824780"/>
                  <a:gd name="connsiteX0" fmla="*/ 331942 w 4545826"/>
                  <a:gd name="connsiteY0" fmla="*/ 0 h 19826346"/>
                  <a:gd name="connsiteX1" fmla="*/ 830946 w 4545826"/>
                  <a:gd name="connsiteY1" fmla="*/ 5676072 h 19826346"/>
                  <a:gd name="connsiteX2" fmla="*/ 1898446 w 4545826"/>
                  <a:gd name="connsiteY2" fmla="*/ 11869037 h 19826346"/>
                  <a:gd name="connsiteX3" fmla="*/ 4477730 w 4545826"/>
                  <a:gd name="connsiteY3" fmla="*/ 17356303 h 19826346"/>
                  <a:gd name="connsiteX4" fmla="*/ 393630 w 4545826"/>
                  <a:gd name="connsiteY4" fmla="*/ 19788919 h 19826346"/>
                  <a:gd name="connsiteX0" fmla="*/ 331942 w 4525225"/>
                  <a:gd name="connsiteY0" fmla="*/ 0 h 19814006"/>
                  <a:gd name="connsiteX1" fmla="*/ 830946 w 4525225"/>
                  <a:gd name="connsiteY1" fmla="*/ 5676072 h 19814006"/>
                  <a:gd name="connsiteX2" fmla="*/ 1898446 w 4525225"/>
                  <a:gd name="connsiteY2" fmla="*/ 11869037 h 19814006"/>
                  <a:gd name="connsiteX3" fmla="*/ 4477730 w 4525225"/>
                  <a:gd name="connsiteY3" fmla="*/ 17356303 h 19814006"/>
                  <a:gd name="connsiteX4" fmla="*/ 393630 w 4525225"/>
                  <a:gd name="connsiteY4" fmla="*/ 19788919 h 19814006"/>
                  <a:gd name="connsiteX0" fmla="*/ 331942 w 4446209"/>
                  <a:gd name="connsiteY0" fmla="*/ 0 h 19812367"/>
                  <a:gd name="connsiteX1" fmla="*/ 830946 w 4446209"/>
                  <a:gd name="connsiteY1" fmla="*/ 5676072 h 19812367"/>
                  <a:gd name="connsiteX2" fmla="*/ 1898446 w 4446209"/>
                  <a:gd name="connsiteY2" fmla="*/ 11869037 h 19812367"/>
                  <a:gd name="connsiteX3" fmla="*/ 4395333 w 4446209"/>
                  <a:gd name="connsiteY3" fmla="*/ 17244550 h 19812367"/>
                  <a:gd name="connsiteX4" fmla="*/ 393630 w 4446209"/>
                  <a:gd name="connsiteY4" fmla="*/ 19788919 h 19812367"/>
                  <a:gd name="connsiteX0" fmla="*/ 331942 w 4455324"/>
                  <a:gd name="connsiteY0" fmla="*/ 0 h 19658009"/>
                  <a:gd name="connsiteX1" fmla="*/ 830946 w 4455324"/>
                  <a:gd name="connsiteY1" fmla="*/ 5676072 h 19658009"/>
                  <a:gd name="connsiteX2" fmla="*/ 1898446 w 4455324"/>
                  <a:gd name="connsiteY2" fmla="*/ 11869037 h 19658009"/>
                  <a:gd name="connsiteX3" fmla="*/ 4395333 w 4455324"/>
                  <a:gd name="connsiteY3" fmla="*/ 17244550 h 19658009"/>
                  <a:gd name="connsiteX4" fmla="*/ 102962 w 4455324"/>
                  <a:gd name="connsiteY4" fmla="*/ 19631994 h 19658009"/>
                  <a:gd name="connsiteX0" fmla="*/ 331942 w 4367330"/>
                  <a:gd name="connsiteY0" fmla="*/ 0 h 19658539"/>
                  <a:gd name="connsiteX1" fmla="*/ 830946 w 4367330"/>
                  <a:gd name="connsiteY1" fmla="*/ 5676072 h 19658539"/>
                  <a:gd name="connsiteX2" fmla="*/ 1898446 w 4367330"/>
                  <a:gd name="connsiteY2" fmla="*/ 11869037 h 19658539"/>
                  <a:gd name="connsiteX3" fmla="*/ 4302485 w 4367330"/>
                  <a:gd name="connsiteY3" fmla="*/ 17275589 h 19658539"/>
                  <a:gd name="connsiteX4" fmla="*/ 102962 w 4367330"/>
                  <a:gd name="connsiteY4" fmla="*/ 19631994 h 19658539"/>
                  <a:gd name="connsiteX0" fmla="*/ 331942 w 4367330"/>
                  <a:gd name="connsiteY0" fmla="*/ 0 h 19663326"/>
                  <a:gd name="connsiteX1" fmla="*/ 830946 w 4367330"/>
                  <a:gd name="connsiteY1" fmla="*/ 5676072 h 19663326"/>
                  <a:gd name="connsiteX2" fmla="*/ 1898446 w 4367330"/>
                  <a:gd name="connsiteY2" fmla="*/ 11869037 h 19663326"/>
                  <a:gd name="connsiteX3" fmla="*/ 4302485 w 4367330"/>
                  <a:gd name="connsiteY3" fmla="*/ 17275589 h 19663326"/>
                  <a:gd name="connsiteX4" fmla="*/ 102962 w 4367330"/>
                  <a:gd name="connsiteY4" fmla="*/ 19631994 h 19663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67330" h="19663326">
                    <a:moveTo>
                      <a:pt x="331942" y="0"/>
                    </a:moveTo>
                    <a:cubicBezTo>
                      <a:pt x="2355598" y="1639267"/>
                      <a:pt x="1303946" y="4500872"/>
                      <a:pt x="830946" y="5676072"/>
                    </a:cubicBezTo>
                    <a:cubicBezTo>
                      <a:pt x="358356" y="6851679"/>
                      <a:pt x="-1248786" y="9614944"/>
                      <a:pt x="1898446" y="11869037"/>
                    </a:cubicBezTo>
                    <a:cubicBezTo>
                      <a:pt x="3876184" y="13285211"/>
                      <a:pt x="4601732" y="15981763"/>
                      <a:pt x="4302485" y="17275589"/>
                    </a:cubicBezTo>
                    <a:cubicBezTo>
                      <a:pt x="3930413" y="18810796"/>
                      <a:pt x="1846044" y="19860960"/>
                      <a:pt x="102962" y="19631994"/>
                    </a:cubicBezTo>
                  </a:path>
                </a:pathLst>
              </a:custGeom>
              <a:noFill/>
              <a:ln w="19050" cap="flat">
                <a:solidFill>
                  <a:srgbClr val="FFBEA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D2CD9373-5C8E-8A03-1FF7-882046F44D47}"/>
                  </a:ext>
                </a:extLst>
              </p:cNvPr>
              <p:cNvSpPr/>
              <p:nvPr/>
            </p:nvSpPr>
            <p:spPr>
              <a:xfrm rot="4500000">
                <a:off x="1639845" y="-4215858"/>
                <a:ext cx="4804036" cy="19036672"/>
              </a:xfrm>
              <a:custGeom>
                <a:avLst/>
                <a:gdLst>
                  <a:gd name="connsiteX0" fmla="*/ 100874 w 25863556"/>
                  <a:gd name="connsiteY0" fmla="*/ 3402147 h 21371769"/>
                  <a:gd name="connsiteX1" fmla="*/ 10668181 w 25863556"/>
                  <a:gd name="connsiteY1" fmla="*/ 13490 h 21371769"/>
                  <a:gd name="connsiteX2" fmla="*/ 21616650 w 25863556"/>
                  <a:gd name="connsiteY2" fmla="*/ 2378520 h 21371769"/>
                  <a:gd name="connsiteX3" fmla="*/ 22179050 w 25863556"/>
                  <a:gd name="connsiteY3" fmla="*/ 7825403 h 21371769"/>
                  <a:gd name="connsiteX4" fmla="*/ 23222980 w 25863556"/>
                  <a:gd name="connsiteY4" fmla="*/ 13804621 h 21371769"/>
                  <a:gd name="connsiteX5" fmla="*/ 25602198 w 25863556"/>
                  <a:gd name="connsiteY5" fmla="*/ 19360410 h 21371769"/>
                  <a:gd name="connsiteX6" fmla="*/ 25602198 w 25863556"/>
                  <a:gd name="connsiteY6" fmla="*/ 19360410 h 21371769"/>
                  <a:gd name="connsiteX7" fmla="*/ 19113088 w 25863556"/>
                  <a:gd name="connsiteY7" fmla="*/ 20938316 h 21371769"/>
                  <a:gd name="connsiteX8" fmla="*/ 17556742 w 25863556"/>
                  <a:gd name="connsiteY8" fmla="*/ 20426706 h 21371769"/>
                  <a:gd name="connsiteX9" fmla="*/ 9751034 w 25863556"/>
                  <a:gd name="connsiteY9" fmla="*/ 16043273 h 21371769"/>
                  <a:gd name="connsiteX10" fmla="*/ 5774021 w 25863556"/>
                  <a:gd name="connsiteY10" fmla="*/ 12814722 h 21371769"/>
                  <a:gd name="connsiteX11" fmla="*/ 2276508 w 25863556"/>
                  <a:gd name="connsiteY11" fmla="*/ 8997353 h 21371769"/>
                  <a:gd name="connsiteX12" fmla="*/ 100874 w 25863556"/>
                  <a:gd name="connsiteY12" fmla="*/ 3402147 h 21371769"/>
                  <a:gd name="connsiteX0" fmla="*/ 17556742 w 25863556"/>
                  <a:gd name="connsiteY0" fmla="*/ 20426706 h 21371769"/>
                  <a:gd name="connsiteX1" fmla="*/ 9751034 w 25863556"/>
                  <a:gd name="connsiteY1" fmla="*/ 16043273 h 21371769"/>
                  <a:gd name="connsiteX2" fmla="*/ 5774021 w 25863556"/>
                  <a:gd name="connsiteY2" fmla="*/ 12814722 h 21371769"/>
                  <a:gd name="connsiteX3" fmla="*/ 2276508 w 25863556"/>
                  <a:gd name="connsiteY3" fmla="*/ 8997353 h 21371769"/>
                  <a:gd name="connsiteX4" fmla="*/ 100874 w 25863556"/>
                  <a:gd name="connsiteY4" fmla="*/ 3402147 h 21371769"/>
                  <a:gd name="connsiteX5" fmla="*/ 10668181 w 25863556"/>
                  <a:gd name="connsiteY5" fmla="*/ 13490 h 21371769"/>
                  <a:gd name="connsiteX6" fmla="*/ 21616650 w 25863556"/>
                  <a:gd name="connsiteY6" fmla="*/ 2378520 h 21371769"/>
                  <a:gd name="connsiteX7" fmla="*/ 22179050 w 25863556"/>
                  <a:gd name="connsiteY7" fmla="*/ 7825403 h 21371769"/>
                  <a:gd name="connsiteX8" fmla="*/ 23222980 w 25863556"/>
                  <a:gd name="connsiteY8" fmla="*/ 13804621 h 21371769"/>
                  <a:gd name="connsiteX9" fmla="*/ 25602198 w 25863556"/>
                  <a:gd name="connsiteY9" fmla="*/ 19360410 h 21371769"/>
                  <a:gd name="connsiteX10" fmla="*/ 25602198 w 25863556"/>
                  <a:gd name="connsiteY10" fmla="*/ 19360410 h 21371769"/>
                  <a:gd name="connsiteX11" fmla="*/ 19113088 w 25863556"/>
                  <a:gd name="connsiteY11" fmla="*/ 20938316 h 21371769"/>
                  <a:gd name="connsiteX12" fmla="*/ 17765358 w 25863556"/>
                  <a:gd name="connsiteY12" fmla="*/ 20635322 h 21371769"/>
                  <a:gd name="connsiteX0" fmla="*/ 17556742 w 25863556"/>
                  <a:gd name="connsiteY0" fmla="*/ 20426706 h 21371769"/>
                  <a:gd name="connsiteX1" fmla="*/ 9751034 w 25863556"/>
                  <a:gd name="connsiteY1" fmla="*/ 16043273 h 21371769"/>
                  <a:gd name="connsiteX2" fmla="*/ 5774021 w 25863556"/>
                  <a:gd name="connsiteY2" fmla="*/ 12814722 h 21371769"/>
                  <a:gd name="connsiteX3" fmla="*/ 2276508 w 25863556"/>
                  <a:gd name="connsiteY3" fmla="*/ 8997353 h 21371769"/>
                  <a:gd name="connsiteX4" fmla="*/ 100874 w 25863556"/>
                  <a:gd name="connsiteY4" fmla="*/ 3402147 h 21371769"/>
                  <a:gd name="connsiteX5" fmla="*/ 10668181 w 25863556"/>
                  <a:gd name="connsiteY5" fmla="*/ 13490 h 21371769"/>
                  <a:gd name="connsiteX6" fmla="*/ 21616650 w 25863556"/>
                  <a:gd name="connsiteY6" fmla="*/ 2378520 h 21371769"/>
                  <a:gd name="connsiteX7" fmla="*/ 22179050 w 25863556"/>
                  <a:gd name="connsiteY7" fmla="*/ 7825403 h 21371769"/>
                  <a:gd name="connsiteX8" fmla="*/ 23222980 w 25863556"/>
                  <a:gd name="connsiteY8" fmla="*/ 13804621 h 21371769"/>
                  <a:gd name="connsiteX9" fmla="*/ 25602198 w 25863556"/>
                  <a:gd name="connsiteY9" fmla="*/ 19360410 h 21371769"/>
                  <a:gd name="connsiteX10" fmla="*/ 25602198 w 25863556"/>
                  <a:gd name="connsiteY10" fmla="*/ 19360410 h 21371769"/>
                  <a:gd name="connsiteX11" fmla="*/ 19113088 w 25863556"/>
                  <a:gd name="connsiteY11" fmla="*/ 20938316 h 21371769"/>
                  <a:gd name="connsiteX0" fmla="*/ 9751034 w 25863556"/>
                  <a:gd name="connsiteY0" fmla="*/ 16043273 h 21371769"/>
                  <a:gd name="connsiteX1" fmla="*/ 5774021 w 25863556"/>
                  <a:gd name="connsiteY1" fmla="*/ 12814722 h 21371769"/>
                  <a:gd name="connsiteX2" fmla="*/ 2276508 w 25863556"/>
                  <a:gd name="connsiteY2" fmla="*/ 8997353 h 21371769"/>
                  <a:gd name="connsiteX3" fmla="*/ 100874 w 25863556"/>
                  <a:gd name="connsiteY3" fmla="*/ 3402147 h 21371769"/>
                  <a:gd name="connsiteX4" fmla="*/ 10668181 w 25863556"/>
                  <a:gd name="connsiteY4" fmla="*/ 13490 h 21371769"/>
                  <a:gd name="connsiteX5" fmla="*/ 21616650 w 25863556"/>
                  <a:gd name="connsiteY5" fmla="*/ 2378520 h 21371769"/>
                  <a:gd name="connsiteX6" fmla="*/ 22179050 w 25863556"/>
                  <a:gd name="connsiteY6" fmla="*/ 7825403 h 21371769"/>
                  <a:gd name="connsiteX7" fmla="*/ 23222980 w 25863556"/>
                  <a:gd name="connsiteY7" fmla="*/ 13804621 h 21371769"/>
                  <a:gd name="connsiteX8" fmla="*/ 25602198 w 25863556"/>
                  <a:gd name="connsiteY8" fmla="*/ 19360410 h 21371769"/>
                  <a:gd name="connsiteX9" fmla="*/ 25602198 w 25863556"/>
                  <a:gd name="connsiteY9" fmla="*/ 19360410 h 21371769"/>
                  <a:gd name="connsiteX10" fmla="*/ 19113088 w 25863556"/>
                  <a:gd name="connsiteY10" fmla="*/ 20938316 h 21371769"/>
                  <a:gd name="connsiteX0" fmla="*/ 5774021 w 25863556"/>
                  <a:gd name="connsiteY0" fmla="*/ 12814722 h 21371769"/>
                  <a:gd name="connsiteX1" fmla="*/ 2276508 w 25863556"/>
                  <a:gd name="connsiteY1" fmla="*/ 8997353 h 21371769"/>
                  <a:gd name="connsiteX2" fmla="*/ 100874 w 25863556"/>
                  <a:gd name="connsiteY2" fmla="*/ 3402147 h 21371769"/>
                  <a:gd name="connsiteX3" fmla="*/ 10668181 w 25863556"/>
                  <a:gd name="connsiteY3" fmla="*/ 13490 h 21371769"/>
                  <a:gd name="connsiteX4" fmla="*/ 21616650 w 25863556"/>
                  <a:gd name="connsiteY4" fmla="*/ 2378520 h 21371769"/>
                  <a:gd name="connsiteX5" fmla="*/ 22179050 w 25863556"/>
                  <a:gd name="connsiteY5" fmla="*/ 7825403 h 21371769"/>
                  <a:gd name="connsiteX6" fmla="*/ 23222980 w 25863556"/>
                  <a:gd name="connsiteY6" fmla="*/ 13804621 h 21371769"/>
                  <a:gd name="connsiteX7" fmla="*/ 25602198 w 25863556"/>
                  <a:gd name="connsiteY7" fmla="*/ 19360410 h 21371769"/>
                  <a:gd name="connsiteX8" fmla="*/ 25602198 w 25863556"/>
                  <a:gd name="connsiteY8" fmla="*/ 19360410 h 21371769"/>
                  <a:gd name="connsiteX9" fmla="*/ 19113088 w 25863556"/>
                  <a:gd name="connsiteY9" fmla="*/ 20938316 h 21371769"/>
                  <a:gd name="connsiteX0" fmla="*/ 2276508 w 25863556"/>
                  <a:gd name="connsiteY0" fmla="*/ 8997353 h 21371769"/>
                  <a:gd name="connsiteX1" fmla="*/ 100874 w 25863556"/>
                  <a:gd name="connsiteY1" fmla="*/ 3402147 h 21371769"/>
                  <a:gd name="connsiteX2" fmla="*/ 10668181 w 25863556"/>
                  <a:gd name="connsiteY2" fmla="*/ 13490 h 21371769"/>
                  <a:gd name="connsiteX3" fmla="*/ 21616650 w 25863556"/>
                  <a:gd name="connsiteY3" fmla="*/ 2378520 h 21371769"/>
                  <a:gd name="connsiteX4" fmla="*/ 22179050 w 25863556"/>
                  <a:gd name="connsiteY4" fmla="*/ 7825403 h 21371769"/>
                  <a:gd name="connsiteX5" fmla="*/ 23222980 w 25863556"/>
                  <a:gd name="connsiteY5" fmla="*/ 13804621 h 21371769"/>
                  <a:gd name="connsiteX6" fmla="*/ 25602198 w 25863556"/>
                  <a:gd name="connsiteY6" fmla="*/ 19360410 h 21371769"/>
                  <a:gd name="connsiteX7" fmla="*/ 25602198 w 25863556"/>
                  <a:gd name="connsiteY7" fmla="*/ 19360410 h 21371769"/>
                  <a:gd name="connsiteX8" fmla="*/ 19113088 w 25863556"/>
                  <a:gd name="connsiteY8" fmla="*/ 20938316 h 21371769"/>
                  <a:gd name="connsiteX0" fmla="*/ -1 w 25762681"/>
                  <a:gd name="connsiteY0" fmla="*/ 3402147 h 21371769"/>
                  <a:gd name="connsiteX1" fmla="*/ 10567306 w 25762681"/>
                  <a:gd name="connsiteY1" fmla="*/ 13490 h 21371769"/>
                  <a:gd name="connsiteX2" fmla="*/ 21515775 w 25762681"/>
                  <a:gd name="connsiteY2" fmla="*/ 2378520 h 21371769"/>
                  <a:gd name="connsiteX3" fmla="*/ 22078175 w 25762681"/>
                  <a:gd name="connsiteY3" fmla="*/ 7825403 h 21371769"/>
                  <a:gd name="connsiteX4" fmla="*/ 23122105 w 25762681"/>
                  <a:gd name="connsiteY4" fmla="*/ 13804621 h 21371769"/>
                  <a:gd name="connsiteX5" fmla="*/ 25501323 w 25762681"/>
                  <a:gd name="connsiteY5" fmla="*/ 19360410 h 21371769"/>
                  <a:gd name="connsiteX6" fmla="*/ 25501323 w 25762681"/>
                  <a:gd name="connsiteY6" fmla="*/ 19360410 h 21371769"/>
                  <a:gd name="connsiteX7" fmla="*/ 19012213 w 25762681"/>
                  <a:gd name="connsiteY7" fmla="*/ 20938316 h 21371769"/>
                  <a:gd name="connsiteX0" fmla="*/ 0 w 15195375"/>
                  <a:gd name="connsiteY0" fmla="*/ 0 h 21358279"/>
                  <a:gd name="connsiteX1" fmla="*/ 10948469 w 15195375"/>
                  <a:gd name="connsiteY1" fmla="*/ 2365030 h 21358279"/>
                  <a:gd name="connsiteX2" fmla="*/ 11510869 w 15195375"/>
                  <a:gd name="connsiteY2" fmla="*/ 7811913 h 21358279"/>
                  <a:gd name="connsiteX3" fmla="*/ 12554799 w 15195375"/>
                  <a:gd name="connsiteY3" fmla="*/ 13791131 h 21358279"/>
                  <a:gd name="connsiteX4" fmla="*/ 14934017 w 15195375"/>
                  <a:gd name="connsiteY4" fmla="*/ 19346920 h 21358279"/>
                  <a:gd name="connsiteX5" fmla="*/ 14934017 w 15195375"/>
                  <a:gd name="connsiteY5" fmla="*/ 19346920 h 21358279"/>
                  <a:gd name="connsiteX6" fmla="*/ 8444907 w 15195375"/>
                  <a:gd name="connsiteY6" fmla="*/ 20924826 h 21358279"/>
                  <a:gd name="connsiteX0" fmla="*/ 2503562 w 6750468"/>
                  <a:gd name="connsiteY0" fmla="*/ 0 h 18993249"/>
                  <a:gd name="connsiteX1" fmla="*/ 3065962 w 6750468"/>
                  <a:gd name="connsiteY1" fmla="*/ 5446883 h 18993249"/>
                  <a:gd name="connsiteX2" fmla="*/ 4109892 w 6750468"/>
                  <a:gd name="connsiteY2" fmla="*/ 11426101 h 18993249"/>
                  <a:gd name="connsiteX3" fmla="*/ 6489110 w 6750468"/>
                  <a:gd name="connsiteY3" fmla="*/ 16981890 h 18993249"/>
                  <a:gd name="connsiteX4" fmla="*/ 6489110 w 6750468"/>
                  <a:gd name="connsiteY4" fmla="*/ 16981890 h 18993249"/>
                  <a:gd name="connsiteX5" fmla="*/ 0 w 6750468"/>
                  <a:gd name="connsiteY5" fmla="*/ 18559796 h 18993249"/>
                  <a:gd name="connsiteX0" fmla="*/ 1363820 w 5610726"/>
                  <a:gd name="connsiteY0" fmla="*/ 0 h 19062931"/>
                  <a:gd name="connsiteX1" fmla="*/ 1926220 w 5610726"/>
                  <a:gd name="connsiteY1" fmla="*/ 5446883 h 19062931"/>
                  <a:gd name="connsiteX2" fmla="*/ 2970150 w 5610726"/>
                  <a:gd name="connsiteY2" fmla="*/ 11426101 h 19062931"/>
                  <a:gd name="connsiteX3" fmla="*/ 5349368 w 5610726"/>
                  <a:gd name="connsiteY3" fmla="*/ 16981890 h 19062931"/>
                  <a:gd name="connsiteX4" fmla="*/ 5349368 w 5610726"/>
                  <a:gd name="connsiteY4" fmla="*/ 16981890 h 19062931"/>
                  <a:gd name="connsiteX5" fmla="*/ 1 w 5610726"/>
                  <a:gd name="connsiteY5" fmla="*/ 18892963 h 19062931"/>
                  <a:gd name="connsiteX0" fmla="*/ 1363820 w 5489498"/>
                  <a:gd name="connsiteY0" fmla="*/ 0 h 19102447"/>
                  <a:gd name="connsiteX1" fmla="*/ 1926220 w 5489498"/>
                  <a:gd name="connsiteY1" fmla="*/ 5446883 h 19102447"/>
                  <a:gd name="connsiteX2" fmla="*/ 2970150 w 5489498"/>
                  <a:gd name="connsiteY2" fmla="*/ 11426101 h 19102447"/>
                  <a:gd name="connsiteX3" fmla="*/ 5349368 w 5489498"/>
                  <a:gd name="connsiteY3" fmla="*/ 16981890 h 19102447"/>
                  <a:gd name="connsiteX4" fmla="*/ 5192376 w 5489498"/>
                  <a:gd name="connsiteY4" fmla="*/ 17552138 h 19102447"/>
                  <a:gd name="connsiteX5" fmla="*/ 1 w 5489498"/>
                  <a:gd name="connsiteY5" fmla="*/ 18892963 h 19102447"/>
                  <a:gd name="connsiteX0" fmla="*/ 1363820 w 5474054"/>
                  <a:gd name="connsiteY0" fmla="*/ 0 h 18892963"/>
                  <a:gd name="connsiteX1" fmla="*/ 1926220 w 5474054"/>
                  <a:gd name="connsiteY1" fmla="*/ 5446883 h 18892963"/>
                  <a:gd name="connsiteX2" fmla="*/ 2970150 w 5474054"/>
                  <a:gd name="connsiteY2" fmla="*/ 11426101 h 18892963"/>
                  <a:gd name="connsiteX3" fmla="*/ 5349368 w 5474054"/>
                  <a:gd name="connsiteY3" fmla="*/ 16981890 h 18892963"/>
                  <a:gd name="connsiteX4" fmla="*/ 1 w 5474054"/>
                  <a:gd name="connsiteY4" fmla="*/ 18892963 h 18892963"/>
                  <a:gd name="connsiteX0" fmla="*/ 1363820 w 5338539"/>
                  <a:gd name="connsiteY0" fmla="*/ 0 h 18892963"/>
                  <a:gd name="connsiteX1" fmla="*/ 1926220 w 5338539"/>
                  <a:gd name="connsiteY1" fmla="*/ 5446883 h 18892963"/>
                  <a:gd name="connsiteX2" fmla="*/ 2970150 w 5338539"/>
                  <a:gd name="connsiteY2" fmla="*/ 11426101 h 18892963"/>
                  <a:gd name="connsiteX3" fmla="*/ 5201455 w 5338539"/>
                  <a:gd name="connsiteY3" fmla="*/ 17321923 h 18892963"/>
                  <a:gd name="connsiteX4" fmla="*/ 1 w 5338539"/>
                  <a:gd name="connsiteY4" fmla="*/ 18892963 h 18892963"/>
                  <a:gd name="connsiteX0" fmla="*/ 1363820 w 5360017"/>
                  <a:gd name="connsiteY0" fmla="*/ 0 h 18892963"/>
                  <a:gd name="connsiteX1" fmla="*/ 1926220 w 5360017"/>
                  <a:gd name="connsiteY1" fmla="*/ 5446883 h 18892963"/>
                  <a:gd name="connsiteX2" fmla="*/ 2970150 w 5360017"/>
                  <a:gd name="connsiteY2" fmla="*/ 11426101 h 18892963"/>
                  <a:gd name="connsiteX3" fmla="*/ 5201455 w 5360017"/>
                  <a:gd name="connsiteY3" fmla="*/ 17321923 h 18892963"/>
                  <a:gd name="connsiteX4" fmla="*/ 1 w 5360017"/>
                  <a:gd name="connsiteY4" fmla="*/ 18892963 h 18892963"/>
                  <a:gd name="connsiteX0" fmla="*/ 1363820 w 5402930"/>
                  <a:gd name="connsiteY0" fmla="*/ 0 h 18892963"/>
                  <a:gd name="connsiteX1" fmla="*/ 1926220 w 5402930"/>
                  <a:gd name="connsiteY1" fmla="*/ 5446883 h 18892963"/>
                  <a:gd name="connsiteX2" fmla="*/ 2970150 w 5402930"/>
                  <a:gd name="connsiteY2" fmla="*/ 11426101 h 18892963"/>
                  <a:gd name="connsiteX3" fmla="*/ 5248904 w 5402930"/>
                  <a:gd name="connsiteY3" fmla="*/ 17093220 h 18892963"/>
                  <a:gd name="connsiteX4" fmla="*/ 1 w 5402930"/>
                  <a:gd name="connsiteY4" fmla="*/ 18892963 h 18892963"/>
                  <a:gd name="connsiteX0" fmla="*/ 1363820 w 5402930"/>
                  <a:gd name="connsiteY0" fmla="*/ 0 h 19010973"/>
                  <a:gd name="connsiteX1" fmla="*/ 1926220 w 5402930"/>
                  <a:gd name="connsiteY1" fmla="*/ 5446883 h 19010973"/>
                  <a:gd name="connsiteX2" fmla="*/ 2970150 w 5402930"/>
                  <a:gd name="connsiteY2" fmla="*/ 11426101 h 19010973"/>
                  <a:gd name="connsiteX3" fmla="*/ 5248904 w 5402930"/>
                  <a:gd name="connsiteY3" fmla="*/ 17093220 h 19010973"/>
                  <a:gd name="connsiteX4" fmla="*/ 1 w 5402930"/>
                  <a:gd name="connsiteY4" fmla="*/ 18892963 h 19010973"/>
                  <a:gd name="connsiteX0" fmla="*/ 463178 w 4428638"/>
                  <a:gd name="connsiteY0" fmla="*/ 0 h 19199042"/>
                  <a:gd name="connsiteX1" fmla="*/ 1025578 w 4428638"/>
                  <a:gd name="connsiteY1" fmla="*/ 5446883 h 19199042"/>
                  <a:gd name="connsiteX2" fmla="*/ 2069508 w 4428638"/>
                  <a:gd name="connsiteY2" fmla="*/ 11426101 h 19199042"/>
                  <a:gd name="connsiteX3" fmla="*/ 4348262 w 4428638"/>
                  <a:gd name="connsiteY3" fmla="*/ 17093220 h 19199042"/>
                  <a:gd name="connsiteX4" fmla="*/ 0 w 4428638"/>
                  <a:gd name="connsiteY4" fmla="*/ 19167198 h 19199042"/>
                  <a:gd name="connsiteX0" fmla="*/ 463178 w 4428638"/>
                  <a:gd name="connsiteY0" fmla="*/ 0 h 19292281"/>
                  <a:gd name="connsiteX1" fmla="*/ 1025578 w 4428638"/>
                  <a:gd name="connsiteY1" fmla="*/ 5446883 h 19292281"/>
                  <a:gd name="connsiteX2" fmla="*/ 2069508 w 4428638"/>
                  <a:gd name="connsiteY2" fmla="*/ 11426101 h 19292281"/>
                  <a:gd name="connsiteX3" fmla="*/ 4348262 w 4428638"/>
                  <a:gd name="connsiteY3" fmla="*/ 17093220 h 19292281"/>
                  <a:gd name="connsiteX4" fmla="*/ 0 w 4428638"/>
                  <a:gd name="connsiteY4" fmla="*/ 19167198 h 19292281"/>
                  <a:gd name="connsiteX0" fmla="*/ 463178 w 4428638"/>
                  <a:gd name="connsiteY0" fmla="*/ 0 h 19280808"/>
                  <a:gd name="connsiteX1" fmla="*/ 1025578 w 4428638"/>
                  <a:gd name="connsiteY1" fmla="*/ 5446883 h 19280808"/>
                  <a:gd name="connsiteX2" fmla="*/ 2069508 w 4428638"/>
                  <a:gd name="connsiteY2" fmla="*/ 11426101 h 19280808"/>
                  <a:gd name="connsiteX3" fmla="*/ 4348262 w 4428638"/>
                  <a:gd name="connsiteY3" fmla="*/ 17093220 h 19280808"/>
                  <a:gd name="connsiteX4" fmla="*/ 0 w 4428638"/>
                  <a:gd name="connsiteY4" fmla="*/ 19167198 h 19280808"/>
                  <a:gd name="connsiteX0" fmla="*/ 463178 w 4437229"/>
                  <a:gd name="connsiteY0" fmla="*/ 0 h 19284682"/>
                  <a:gd name="connsiteX1" fmla="*/ 1025578 w 4437229"/>
                  <a:gd name="connsiteY1" fmla="*/ 5446883 h 19284682"/>
                  <a:gd name="connsiteX2" fmla="*/ 2069508 w 4437229"/>
                  <a:gd name="connsiteY2" fmla="*/ 11426101 h 19284682"/>
                  <a:gd name="connsiteX3" fmla="*/ 4348262 w 4437229"/>
                  <a:gd name="connsiteY3" fmla="*/ 17093220 h 19284682"/>
                  <a:gd name="connsiteX4" fmla="*/ 0 w 4437229"/>
                  <a:gd name="connsiteY4" fmla="*/ 19167198 h 19284682"/>
                  <a:gd name="connsiteX0" fmla="*/ 463178 w 4485893"/>
                  <a:gd name="connsiteY0" fmla="*/ 0 h 19289852"/>
                  <a:gd name="connsiteX1" fmla="*/ 1025578 w 4485893"/>
                  <a:gd name="connsiteY1" fmla="*/ 5446883 h 19289852"/>
                  <a:gd name="connsiteX2" fmla="*/ 2069508 w 4485893"/>
                  <a:gd name="connsiteY2" fmla="*/ 11426101 h 19289852"/>
                  <a:gd name="connsiteX3" fmla="*/ 4348262 w 4485893"/>
                  <a:gd name="connsiteY3" fmla="*/ 17093220 h 19289852"/>
                  <a:gd name="connsiteX4" fmla="*/ 0 w 4485893"/>
                  <a:gd name="connsiteY4" fmla="*/ 19167198 h 19289852"/>
                  <a:gd name="connsiteX0" fmla="*/ 463178 w 4426044"/>
                  <a:gd name="connsiteY0" fmla="*/ 0 h 19291251"/>
                  <a:gd name="connsiteX1" fmla="*/ 1025578 w 4426044"/>
                  <a:gd name="connsiteY1" fmla="*/ 5446883 h 19291251"/>
                  <a:gd name="connsiteX2" fmla="*/ 2069508 w 4426044"/>
                  <a:gd name="connsiteY2" fmla="*/ 11426101 h 19291251"/>
                  <a:gd name="connsiteX3" fmla="*/ 4282403 w 4426044"/>
                  <a:gd name="connsiteY3" fmla="*/ 17112326 h 19291251"/>
                  <a:gd name="connsiteX4" fmla="*/ 0 w 4426044"/>
                  <a:gd name="connsiteY4" fmla="*/ 19167198 h 19291251"/>
                  <a:gd name="connsiteX0" fmla="*/ 463178 w 4513135"/>
                  <a:gd name="connsiteY0" fmla="*/ 0 h 19293196"/>
                  <a:gd name="connsiteX1" fmla="*/ 1025578 w 4513135"/>
                  <a:gd name="connsiteY1" fmla="*/ 5446883 h 19293196"/>
                  <a:gd name="connsiteX2" fmla="*/ 2069508 w 4513135"/>
                  <a:gd name="connsiteY2" fmla="*/ 11426101 h 19293196"/>
                  <a:gd name="connsiteX3" fmla="*/ 4282403 w 4513135"/>
                  <a:gd name="connsiteY3" fmla="*/ 17112326 h 19293196"/>
                  <a:gd name="connsiteX4" fmla="*/ 0 w 4513135"/>
                  <a:gd name="connsiteY4" fmla="*/ 19167198 h 19293196"/>
                  <a:gd name="connsiteX0" fmla="*/ 803934 w 4727902"/>
                  <a:gd name="connsiteY0" fmla="*/ 0 h 19049731"/>
                  <a:gd name="connsiteX1" fmla="*/ 1366334 w 4727902"/>
                  <a:gd name="connsiteY1" fmla="*/ 5446883 h 19049731"/>
                  <a:gd name="connsiteX2" fmla="*/ 2410264 w 4727902"/>
                  <a:gd name="connsiteY2" fmla="*/ 11426101 h 19049731"/>
                  <a:gd name="connsiteX3" fmla="*/ 4623159 w 4727902"/>
                  <a:gd name="connsiteY3" fmla="*/ 17112326 h 19049731"/>
                  <a:gd name="connsiteX4" fmla="*/ -1 w 4727902"/>
                  <a:gd name="connsiteY4" fmla="*/ 18919819 h 19049731"/>
                  <a:gd name="connsiteX0" fmla="*/ 803934 w 4712484"/>
                  <a:gd name="connsiteY0" fmla="*/ 0 h 19039689"/>
                  <a:gd name="connsiteX1" fmla="*/ 1366334 w 4712484"/>
                  <a:gd name="connsiteY1" fmla="*/ 5446883 h 19039689"/>
                  <a:gd name="connsiteX2" fmla="*/ 2410264 w 4712484"/>
                  <a:gd name="connsiteY2" fmla="*/ 11426101 h 19039689"/>
                  <a:gd name="connsiteX3" fmla="*/ 4606375 w 4712484"/>
                  <a:gd name="connsiteY3" fmla="*/ 16978979 h 19039689"/>
                  <a:gd name="connsiteX4" fmla="*/ -1 w 4712484"/>
                  <a:gd name="connsiteY4" fmla="*/ 18919819 h 19039689"/>
                  <a:gd name="connsiteX0" fmla="*/ 803934 w 4804036"/>
                  <a:gd name="connsiteY0" fmla="*/ 0 h 19036671"/>
                  <a:gd name="connsiteX1" fmla="*/ 1366334 w 4804036"/>
                  <a:gd name="connsiteY1" fmla="*/ 5446883 h 19036671"/>
                  <a:gd name="connsiteX2" fmla="*/ 2410264 w 4804036"/>
                  <a:gd name="connsiteY2" fmla="*/ 11426101 h 19036671"/>
                  <a:gd name="connsiteX3" fmla="*/ 4606375 w 4804036"/>
                  <a:gd name="connsiteY3" fmla="*/ 16978979 h 19036671"/>
                  <a:gd name="connsiteX4" fmla="*/ -1 w 4804036"/>
                  <a:gd name="connsiteY4" fmla="*/ 18919819 h 19036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04036" h="19036671">
                    <a:moveTo>
                      <a:pt x="803934" y="0"/>
                    </a:moveTo>
                    <a:cubicBezTo>
                      <a:pt x="2739818" y="1572623"/>
                      <a:pt x="1786100" y="4298096"/>
                      <a:pt x="1366334" y="5446883"/>
                    </a:cubicBezTo>
                    <a:cubicBezTo>
                      <a:pt x="949818" y="6602172"/>
                      <a:pt x="-541106" y="9251656"/>
                      <a:pt x="2410264" y="11426101"/>
                    </a:cubicBezTo>
                    <a:cubicBezTo>
                      <a:pt x="4267722" y="12848777"/>
                      <a:pt x="5250802" y="15505964"/>
                      <a:pt x="4606375" y="16978979"/>
                    </a:cubicBezTo>
                    <a:cubicBezTo>
                      <a:pt x="4080526" y="18180952"/>
                      <a:pt x="2287162" y="19428972"/>
                      <a:pt x="-1" y="18919819"/>
                    </a:cubicBezTo>
                  </a:path>
                </a:pathLst>
              </a:custGeom>
              <a:noFill/>
              <a:ln w="19050" cap="flat">
                <a:solidFill>
                  <a:srgbClr val="FFC39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F5C0DFC4-50C4-E108-AAA3-75D891C0977D}"/>
                  </a:ext>
                </a:extLst>
              </p:cNvPr>
              <p:cNvSpPr/>
              <p:nvPr/>
            </p:nvSpPr>
            <p:spPr>
              <a:xfrm rot="4500000">
                <a:off x="1067444" y="-4630707"/>
                <a:ext cx="6259649" cy="18050220"/>
              </a:xfrm>
              <a:custGeom>
                <a:avLst/>
                <a:gdLst>
                  <a:gd name="connsiteX0" fmla="*/ 106351 w 24995558"/>
                  <a:gd name="connsiteY0" fmla="*/ 3470863 h 20756014"/>
                  <a:gd name="connsiteX1" fmla="*/ 10381488 w 24995558"/>
                  <a:gd name="connsiteY1" fmla="*/ 9873 h 20756014"/>
                  <a:gd name="connsiteX2" fmla="*/ 20928884 w 24995558"/>
                  <a:gd name="connsiteY2" fmla="*/ 2340768 h 20756014"/>
                  <a:gd name="connsiteX3" fmla="*/ 21554674 w 24995558"/>
                  <a:gd name="connsiteY3" fmla="*/ 7558464 h 20756014"/>
                  <a:gd name="connsiteX4" fmla="*/ 22575442 w 24995558"/>
                  <a:gd name="connsiteY4" fmla="*/ 13324342 h 20756014"/>
                  <a:gd name="connsiteX5" fmla="*/ 24723444 w 24995558"/>
                  <a:gd name="connsiteY5" fmla="*/ 18774070 h 20756014"/>
                  <a:gd name="connsiteX6" fmla="*/ 24723444 w 24995558"/>
                  <a:gd name="connsiteY6" fmla="*/ 18774070 h 20756014"/>
                  <a:gd name="connsiteX7" fmla="*/ 18513500 w 24995558"/>
                  <a:gd name="connsiteY7" fmla="*/ 20390986 h 20756014"/>
                  <a:gd name="connsiteX8" fmla="*/ 17015668 w 24995558"/>
                  <a:gd name="connsiteY8" fmla="*/ 19935048 h 20756014"/>
                  <a:gd name="connsiteX9" fmla="*/ 9477344 w 24995558"/>
                  <a:gd name="connsiteY9" fmla="*/ 15884019 h 20756014"/>
                  <a:gd name="connsiteX10" fmla="*/ 5517804 w 24995558"/>
                  <a:gd name="connsiteY10" fmla="*/ 12753401 h 20756014"/>
                  <a:gd name="connsiteX11" fmla="*/ 2116192 w 24995558"/>
                  <a:gd name="connsiteY11" fmla="*/ 8950255 h 20756014"/>
                  <a:gd name="connsiteX12" fmla="*/ 106351 w 24995558"/>
                  <a:gd name="connsiteY12" fmla="*/ 3470863 h 20756014"/>
                  <a:gd name="connsiteX0" fmla="*/ 17015668 w 24995558"/>
                  <a:gd name="connsiteY0" fmla="*/ 19935048 h 20756014"/>
                  <a:gd name="connsiteX1" fmla="*/ 9477344 w 24995558"/>
                  <a:gd name="connsiteY1" fmla="*/ 15884019 h 20756014"/>
                  <a:gd name="connsiteX2" fmla="*/ 5517804 w 24995558"/>
                  <a:gd name="connsiteY2" fmla="*/ 12753401 h 20756014"/>
                  <a:gd name="connsiteX3" fmla="*/ 2116192 w 24995558"/>
                  <a:gd name="connsiteY3" fmla="*/ 8950255 h 20756014"/>
                  <a:gd name="connsiteX4" fmla="*/ 106351 w 24995558"/>
                  <a:gd name="connsiteY4" fmla="*/ 3470863 h 20756014"/>
                  <a:gd name="connsiteX5" fmla="*/ 10381488 w 24995558"/>
                  <a:gd name="connsiteY5" fmla="*/ 9873 h 20756014"/>
                  <a:gd name="connsiteX6" fmla="*/ 20928884 w 24995558"/>
                  <a:gd name="connsiteY6" fmla="*/ 2340768 h 20756014"/>
                  <a:gd name="connsiteX7" fmla="*/ 21554674 w 24995558"/>
                  <a:gd name="connsiteY7" fmla="*/ 7558464 h 20756014"/>
                  <a:gd name="connsiteX8" fmla="*/ 22575442 w 24995558"/>
                  <a:gd name="connsiteY8" fmla="*/ 13324342 h 20756014"/>
                  <a:gd name="connsiteX9" fmla="*/ 24723444 w 24995558"/>
                  <a:gd name="connsiteY9" fmla="*/ 18774070 h 20756014"/>
                  <a:gd name="connsiteX10" fmla="*/ 24723444 w 24995558"/>
                  <a:gd name="connsiteY10" fmla="*/ 18774070 h 20756014"/>
                  <a:gd name="connsiteX11" fmla="*/ 18513500 w 24995558"/>
                  <a:gd name="connsiteY11" fmla="*/ 20390986 h 20756014"/>
                  <a:gd name="connsiteX12" fmla="*/ 17224284 w 24995558"/>
                  <a:gd name="connsiteY12" fmla="*/ 20143664 h 20756014"/>
                  <a:gd name="connsiteX0" fmla="*/ 17015668 w 24995558"/>
                  <a:gd name="connsiteY0" fmla="*/ 19935048 h 20756014"/>
                  <a:gd name="connsiteX1" fmla="*/ 9477344 w 24995558"/>
                  <a:gd name="connsiteY1" fmla="*/ 15884019 h 20756014"/>
                  <a:gd name="connsiteX2" fmla="*/ 5517804 w 24995558"/>
                  <a:gd name="connsiteY2" fmla="*/ 12753401 h 20756014"/>
                  <a:gd name="connsiteX3" fmla="*/ 2116192 w 24995558"/>
                  <a:gd name="connsiteY3" fmla="*/ 8950255 h 20756014"/>
                  <a:gd name="connsiteX4" fmla="*/ 106351 w 24995558"/>
                  <a:gd name="connsiteY4" fmla="*/ 3470863 h 20756014"/>
                  <a:gd name="connsiteX5" fmla="*/ 10381488 w 24995558"/>
                  <a:gd name="connsiteY5" fmla="*/ 9873 h 20756014"/>
                  <a:gd name="connsiteX6" fmla="*/ 20928884 w 24995558"/>
                  <a:gd name="connsiteY6" fmla="*/ 2340768 h 20756014"/>
                  <a:gd name="connsiteX7" fmla="*/ 21554674 w 24995558"/>
                  <a:gd name="connsiteY7" fmla="*/ 7558464 h 20756014"/>
                  <a:gd name="connsiteX8" fmla="*/ 22575442 w 24995558"/>
                  <a:gd name="connsiteY8" fmla="*/ 13324342 h 20756014"/>
                  <a:gd name="connsiteX9" fmla="*/ 24723444 w 24995558"/>
                  <a:gd name="connsiteY9" fmla="*/ 18774070 h 20756014"/>
                  <a:gd name="connsiteX10" fmla="*/ 24723444 w 24995558"/>
                  <a:gd name="connsiteY10" fmla="*/ 18774070 h 20756014"/>
                  <a:gd name="connsiteX11" fmla="*/ 18513500 w 24995558"/>
                  <a:gd name="connsiteY11" fmla="*/ 20390986 h 20756014"/>
                  <a:gd name="connsiteX0" fmla="*/ 9477344 w 24995558"/>
                  <a:gd name="connsiteY0" fmla="*/ 15884019 h 20756014"/>
                  <a:gd name="connsiteX1" fmla="*/ 5517804 w 24995558"/>
                  <a:gd name="connsiteY1" fmla="*/ 12753401 h 20756014"/>
                  <a:gd name="connsiteX2" fmla="*/ 2116192 w 24995558"/>
                  <a:gd name="connsiteY2" fmla="*/ 8950255 h 20756014"/>
                  <a:gd name="connsiteX3" fmla="*/ 106351 w 24995558"/>
                  <a:gd name="connsiteY3" fmla="*/ 3470863 h 20756014"/>
                  <a:gd name="connsiteX4" fmla="*/ 10381488 w 24995558"/>
                  <a:gd name="connsiteY4" fmla="*/ 9873 h 20756014"/>
                  <a:gd name="connsiteX5" fmla="*/ 20928884 w 24995558"/>
                  <a:gd name="connsiteY5" fmla="*/ 2340768 h 20756014"/>
                  <a:gd name="connsiteX6" fmla="*/ 21554674 w 24995558"/>
                  <a:gd name="connsiteY6" fmla="*/ 7558464 h 20756014"/>
                  <a:gd name="connsiteX7" fmla="*/ 22575442 w 24995558"/>
                  <a:gd name="connsiteY7" fmla="*/ 13324342 h 20756014"/>
                  <a:gd name="connsiteX8" fmla="*/ 24723444 w 24995558"/>
                  <a:gd name="connsiteY8" fmla="*/ 18774070 h 20756014"/>
                  <a:gd name="connsiteX9" fmla="*/ 24723444 w 24995558"/>
                  <a:gd name="connsiteY9" fmla="*/ 18774070 h 20756014"/>
                  <a:gd name="connsiteX10" fmla="*/ 18513500 w 24995558"/>
                  <a:gd name="connsiteY10" fmla="*/ 20390986 h 20756014"/>
                  <a:gd name="connsiteX0" fmla="*/ 5517804 w 24995558"/>
                  <a:gd name="connsiteY0" fmla="*/ 12753401 h 20756014"/>
                  <a:gd name="connsiteX1" fmla="*/ 2116192 w 24995558"/>
                  <a:gd name="connsiteY1" fmla="*/ 8950255 h 20756014"/>
                  <a:gd name="connsiteX2" fmla="*/ 106351 w 24995558"/>
                  <a:gd name="connsiteY2" fmla="*/ 3470863 h 20756014"/>
                  <a:gd name="connsiteX3" fmla="*/ 10381488 w 24995558"/>
                  <a:gd name="connsiteY3" fmla="*/ 9873 h 20756014"/>
                  <a:gd name="connsiteX4" fmla="*/ 20928884 w 24995558"/>
                  <a:gd name="connsiteY4" fmla="*/ 2340768 h 20756014"/>
                  <a:gd name="connsiteX5" fmla="*/ 21554674 w 24995558"/>
                  <a:gd name="connsiteY5" fmla="*/ 7558464 h 20756014"/>
                  <a:gd name="connsiteX6" fmla="*/ 22575442 w 24995558"/>
                  <a:gd name="connsiteY6" fmla="*/ 13324342 h 20756014"/>
                  <a:gd name="connsiteX7" fmla="*/ 24723444 w 24995558"/>
                  <a:gd name="connsiteY7" fmla="*/ 18774070 h 20756014"/>
                  <a:gd name="connsiteX8" fmla="*/ 24723444 w 24995558"/>
                  <a:gd name="connsiteY8" fmla="*/ 18774070 h 20756014"/>
                  <a:gd name="connsiteX9" fmla="*/ 18513500 w 24995558"/>
                  <a:gd name="connsiteY9" fmla="*/ 20390986 h 20756014"/>
                  <a:gd name="connsiteX0" fmla="*/ 2116192 w 24995558"/>
                  <a:gd name="connsiteY0" fmla="*/ 8950255 h 20756014"/>
                  <a:gd name="connsiteX1" fmla="*/ 106351 w 24995558"/>
                  <a:gd name="connsiteY1" fmla="*/ 3470863 h 20756014"/>
                  <a:gd name="connsiteX2" fmla="*/ 10381488 w 24995558"/>
                  <a:gd name="connsiteY2" fmla="*/ 9873 h 20756014"/>
                  <a:gd name="connsiteX3" fmla="*/ 20928884 w 24995558"/>
                  <a:gd name="connsiteY3" fmla="*/ 2340768 h 20756014"/>
                  <a:gd name="connsiteX4" fmla="*/ 21554674 w 24995558"/>
                  <a:gd name="connsiteY4" fmla="*/ 7558464 h 20756014"/>
                  <a:gd name="connsiteX5" fmla="*/ 22575442 w 24995558"/>
                  <a:gd name="connsiteY5" fmla="*/ 13324342 h 20756014"/>
                  <a:gd name="connsiteX6" fmla="*/ 24723444 w 24995558"/>
                  <a:gd name="connsiteY6" fmla="*/ 18774070 h 20756014"/>
                  <a:gd name="connsiteX7" fmla="*/ 24723444 w 24995558"/>
                  <a:gd name="connsiteY7" fmla="*/ 18774070 h 20756014"/>
                  <a:gd name="connsiteX8" fmla="*/ 18513500 w 24995558"/>
                  <a:gd name="connsiteY8" fmla="*/ 20390986 h 20756014"/>
                  <a:gd name="connsiteX0" fmla="*/ 1 w 24889208"/>
                  <a:gd name="connsiteY0" fmla="*/ 3470863 h 20756014"/>
                  <a:gd name="connsiteX1" fmla="*/ 10275138 w 24889208"/>
                  <a:gd name="connsiteY1" fmla="*/ 9873 h 20756014"/>
                  <a:gd name="connsiteX2" fmla="*/ 20822534 w 24889208"/>
                  <a:gd name="connsiteY2" fmla="*/ 2340768 h 20756014"/>
                  <a:gd name="connsiteX3" fmla="*/ 21448324 w 24889208"/>
                  <a:gd name="connsiteY3" fmla="*/ 7558464 h 20756014"/>
                  <a:gd name="connsiteX4" fmla="*/ 22469092 w 24889208"/>
                  <a:gd name="connsiteY4" fmla="*/ 13324342 h 20756014"/>
                  <a:gd name="connsiteX5" fmla="*/ 24617094 w 24889208"/>
                  <a:gd name="connsiteY5" fmla="*/ 18774070 h 20756014"/>
                  <a:gd name="connsiteX6" fmla="*/ 24617094 w 24889208"/>
                  <a:gd name="connsiteY6" fmla="*/ 18774070 h 20756014"/>
                  <a:gd name="connsiteX7" fmla="*/ 18407150 w 24889208"/>
                  <a:gd name="connsiteY7" fmla="*/ 20390986 h 20756014"/>
                  <a:gd name="connsiteX0" fmla="*/ -1 w 14614069"/>
                  <a:gd name="connsiteY0" fmla="*/ -1 h 20746140"/>
                  <a:gd name="connsiteX1" fmla="*/ 10547395 w 14614069"/>
                  <a:gd name="connsiteY1" fmla="*/ 2330894 h 20746140"/>
                  <a:gd name="connsiteX2" fmla="*/ 11173185 w 14614069"/>
                  <a:gd name="connsiteY2" fmla="*/ 7548590 h 20746140"/>
                  <a:gd name="connsiteX3" fmla="*/ 12193953 w 14614069"/>
                  <a:gd name="connsiteY3" fmla="*/ 13314468 h 20746140"/>
                  <a:gd name="connsiteX4" fmla="*/ 14341955 w 14614069"/>
                  <a:gd name="connsiteY4" fmla="*/ 18764196 h 20746140"/>
                  <a:gd name="connsiteX5" fmla="*/ 14341955 w 14614069"/>
                  <a:gd name="connsiteY5" fmla="*/ 18764196 h 20746140"/>
                  <a:gd name="connsiteX6" fmla="*/ 8132011 w 14614069"/>
                  <a:gd name="connsiteY6" fmla="*/ 20381112 h 20746140"/>
                  <a:gd name="connsiteX0" fmla="*/ 2415385 w 6482059"/>
                  <a:gd name="connsiteY0" fmla="*/ 1 h 18415247"/>
                  <a:gd name="connsiteX1" fmla="*/ 3041175 w 6482059"/>
                  <a:gd name="connsiteY1" fmla="*/ 5217697 h 18415247"/>
                  <a:gd name="connsiteX2" fmla="*/ 4061943 w 6482059"/>
                  <a:gd name="connsiteY2" fmla="*/ 10983575 h 18415247"/>
                  <a:gd name="connsiteX3" fmla="*/ 6209945 w 6482059"/>
                  <a:gd name="connsiteY3" fmla="*/ 16433303 h 18415247"/>
                  <a:gd name="connsiteX4" fmla="*/ 6209945 w 6482059"/>
                  <a:gd name="connsiteY4" fmla="*/ 16433303 h 18415247"/>
                  <a:gd name="connsiteX5" fmla="*/ 1 w 6482059"/>
                  <a:gd name="connsiteY5" fmla="*/ 18050219 h 18415247"/>
                  <a:gd name="connsiteX0" fmla="*/ 2415385 w 6482059"/>
                  <a:gd name="connsiteY0" fmla="*/ 1 h 18383096"/>
                  <a:gd name="connsiteX1" fmla="*/ 3041175 w 6482059"/>
                  <a:gd name="connsiteY1" fmla="*/ 5217697 h 18383096"/>
                  <a:gd name="connsiteX2" fmla="*/ 4061943 w 6482059"/>
                  <a:gd name="connsiteY2" fmla="*/ 10983575 h 18383096"/>
                  <a:gd name="connsiteX3" fmla="*/ 6209945 w 6482059"/>
                  <a:gd name="connsiteY3" fmla="*/ 16433303 h 18383096"/>
                  <a:gd name="connsiteX4" fmla="*/ 6205059 w 6482059"/>
                  <a:gd name="connsiteY4" fmla="*/ 16292009 h 18383096"/>
                  <a:gd name="connsiteX5" fmla="*/ 1 w 6482059"/>
                  <a:gd name="connsiteY5" fmla="*/ 18050219 h 18383096"/>
                  <a:gd name="connsiteX0" fmla="*/ 2415385 w 6482059"/>
                  <a:gd name="connsiteY0" fmla="*/ 1 h 18403255"/>
                  <a:gd name="connsiteX1" fmla="*/ 3041175 w 6482059"/>
                  <a:gd name="connsiteY1" fmla="*/ 5217697 h 18403255"/>
                  <a:gd name="connsiteX2" fmla="*/ 4061943 w 6482059"/>
                  <a:gd name="connsiteY2" fmla="*/ 10983575 h 18403255"/>
                  <a:gd name="connsiteX3" fmla="*/ 6209945 w 6482059"/>
                  <a:gd name="connsiteY3" fmla="*/ 16433303 h 18403255"/>
                  <a:gd name="connsiteX4" fmla="*/ 5893962 w 6482059"/>
                  <a:gd name="connsiteY4" fmla="*/ 16382771 h 18403255"/>
                  <a:gd name="connsiteX5" fmla="*/ 1 w 6482059"/>
                  <a:gd name="connsiteY5" fmla="*/ 18050219 h 18403255"/>
                  <a:gd name="connsiteX0" fmla="*/ 2415385 w 6482059"/>
                  <a:gd name="connsiteY0" fmla="*/ 1 h 18050219"/>
                  <a:gd name="connsiteX1" fmla="*/ 3041175 w 6482059"/>
                  <a:gd name="connsiteY1" fmla="*/ 5217697 h 18050219"/>
                  <a:gd name="connsiteX2" fmla="*/ 4061943 w 6482059"/>
                  <a:gd name="connsiteY2" fmla="*/ 10983575 h 18050219"/>
                  <a:gd name="connsiteX3" fmla="*/ 6209945 w 6482059"/>
                  <a:gd name="connsiteY3" fmla="*/ 16433303 h 18050219"/>
                  <a:gd name="connsiteX4" fmla="*/ 1 w 6482059"/>
                  <a:gd name="connsiteY4" fmla="*/ 18050219 h 18050219"/>
                  <a:gd name="connsiteX0" fmla="*/ 2415385 w 6941221"/>
                  <a:gd name="connsiteY0" fmla="*/ 1 h 18050219"/>
                  <a:gd name="connsiteX1" fmla="*/ 3041175 w 6941221"/>
                  <a:gd name="connsiteY1" fmla="*/ 5217697 h 18050219"/>
                  <a:gd name="connsiteX2" fmla="*/ 4061943 w 6941221"/>
                  <a:gd name="connsiteY2" fmla="*/ 10983575 h 18050219"/>
                  <a:gd name="connsiteX3" fmla="*/ 6209945 w 6941221"/>
                  <a:gd name="connsiteY3" fmla="*/ 16433303 h 18050219"/>
                  <a:gd name="connsiteX4" fmla="*/ 1 w 6941221"/>
                  <a:gd name="connsiteY4" fmla="*/ 18050219 h 18050219"/>
                  <a:gd name="connsiteX0" fmla="*/ 2415385 w 6584940"/>
                  <a:gd name="connsiteY0" fmla="*/ 1 h 18050219"/>
                  <a:gd name="connsiteX1" fmla="*/ 3041175 w 6584940"/>
                  <a:gd name="connsiteY1" fmla="*/ 5217697 h 18050219"/>
                  <a:gd name="connsiteX2" fmla="*/ 4061943 w 6584940"/>
                  <a:gd name="connsiteY2" fmla="*/ 10983575 h 18050219"/>
                  <a:gd name="connsiteX3" fmla="*/ 6209945 w 6584940"/>
                  <a:gd name="connsiteY3" fmla="*/ 16433303 h 18050219"/>
                  <a:gd name="connsiteX4" fmla="*/ 1 w 6584940"/>
                  <a:gd name="connsiteY4" fmla="*/ 18050219 h 18050219"/>
                  <a:gd name="connsiteX0" fmla="*/ 2415385 w 6498183"/>
                  <a:gd name="connsiteY0" fmla="*/ 1 h 18050219"/>
                  <a:gd name="connsiteX1" fmla="*/ 3041175 w 6498183"/>
                  <a:gd name="connsiteY1" fmla="*/ 5217697 h 18050219"/>
                  <a:gd name="connsiteX2" fmla="*/ 4061943 w 6498183"/>
                  <a:gd name="connsiteY2" fmla="*/ 10983575 h 18050219"/>
                  <a:gd name="connsiteX3" fmla="*/ 6108348 w 6498183"/>
                  <a:gd name="connsiteY3" fmla="*/ 16446091 h 18050219"/>
                  <a:gd name="connsiteX4" fmla="*/ 1 w 6498183"/>
                  <a:gd name="connsiteY4" fmla="*/ 18050219 h 18050219"/>
                  <a:gd name="connsiteX0" fmla="*/ 2415385 w 6341283"/>
                  <a:gd name="connsiteY0" fmla="*/ 1 h 18050219"/>
                  <a:gd name="connsiteX1" fmla="*/ 3041175 w 6341283"/>
                  <a:gd name="connsiteY1" fmla="*/ 5217697 h 18050219"/>
                  <a:gd name="connsiteX2" fmla="*/ 4061943 w 6341283"/>
                  <a:gd name="connsiteY2" fmla="*/ 10983575 h 18050219"/>
                  <a:gd name="connsiteX3" fmla="*/ 5921228 w 6341283"/>
                  <a:gd name="connsiteY3" fmla="*/ 16701858 h 18050219"/>
                  <a:gd name="connsiteX4" fmla="*/ 1 w 6341283"/>
                  <a:gd name="connsiteY4" fmla="*/ 18050219 h 18050219"/>
                  <a:gd name="connsiteX0" fmla="*/ 2415385 w 6404770"/>
                  <a:gd name="connsiteY0" fmla="*/ 1 h 18050219"/>
                  <a:gd name="connsiteX1" fmla="*/ 3041175 w 6404770"/>
                  <a:gd name="connsiteY1" fmla="*/ 5217697 h 18050219"/>
                  <a:gd name="connsiteX2" fmla="*/ 4061943 w 6404770"/>
                  <a:gd name="connsiteY2" fmla="*/ 10983575 h 18050219"/>
                  <a:gd name="connsiteX3" fmla="*/ 5997516 w 6404770"/>
                  <a:gd name="connsiteY3" fmla="*/ 16795462 h 18050219"/>
                  <a:gd name="connsiteX4" fmla="*/ 1 w 6404770"/>
                  <a:gd name="connsiteY4" fmla="*/ 18050219 h 18050219"/>
                  <a:gd name="connsiteX0" fmla="*/ 2415385 w 6375695"/>
                  <a:gd name="connsiteY0" fmla="*/ 1 h 18050219"/>
                  <a:gd name="connsiteX1" fmla="*/ 3041175 w 6375695"/>
                  <a:gd name="connsiteY1" fmla="*/ 5217697 h 18050219"/>
                  <a:gd name="connsiteX2" fmla="*/ 4061943 w 6375695"/>
                  <a:gd name="connsiteY2" fmla="*/ 10983575 h 18050219"/>
                  <a:gd name="connsiteX3" fmla="*/ 5997516 w 6375695"/>
                  <a:gd name="connsiteY3" fmla="*/ 16795462 h 18050219"/>
                  <a:gd name="connsiteX4" fmla="*/ 1 w 6375695"/>
                  <a:gd name="connsiteY4" fmla="*/ 18050219 h 18050219"/>
                  <a:gd name="connsiteX0" fmla="*/ 2415385 w 6296239"/>
                  <a:gd name="connsiteY0" fmla="*/ 1 h 18050219"/>
                  <a:gd name="connsiteX1" fmla="*/ 3041175 w 6296239"/>
                  <a:gd name="connsiteY1" fmla="*/ 5217697 h 18050219"/>
                  <a:gd name="connsiteX2" fmla="*/ 4061943 w 6296239"/>
                  <a:gd name="connsiteY2" fmla="*/ 10983575 h 18050219"/>
                  <a:gd name="connsiteX3" fmla="*/ 5902315 w 6296239"/>
                  <a:gd name="connsiteY3" fmla="*/ 16859048 h 18050219"/>
                  <a:gd name="connsiteX4" fmla="*/ 1 w 6296239"/>
                  <a:gd name="connsiteY4" fmla="*/ 18050219 h 18050219"/>
                  <a:gd name="connsiteX0" fmla="*/ 2415385 w 6259648"/>
                  <a:gd name="connsiteY0" fmla="*/ 1 h 18050219"/>
                  <a:gd name="connsiteX1" fmla="*/ 3041175 w 6259648"/>
                  <a:gd name="connsiteY1" fmla="*/ 5217697 h 18050219"/>
                  <a:gd name="connsiteX2" fmla="*/ 4061943 w 6259648"/>
                  <a:gd name="connsiteY2" fmla="*/ 10983575 h 18050219"/>
                  <a:gd name="connsiteX3" fmla="*/ 5858001 w 6259648"/>
                  <a:gd name="connsiteY3" fmla="*/ 17019435 h 18050219"/>
                  <a:gd name="connsiteX4" fmla="*/ 1 w 6259648"/>
                  <a:gd name="connsiteY4" fmla="*/ 18050219 h 1805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59648" h="18050219">
                    <a:moveTo>
                      <a:pt x="2415385" y="1"/>
                    </a:moveTo>
                    <a:cubicBezTo>
                      <a:pt x="4263089" y="1505981"/>
                      <a:pt x="3407707" y="4094917"/>
                      <a:pt x="3041175" y="5217697"/>
                    </a:cubicBezTo>
                    <a:cubicBezTo>
                      <a:pt x="2681141" y="6352667"/>
                      <a:pt x="1306031" y="8888369"/>
                      <a:pt x="4061943" y="10983575"/>
                    </a:cubicBezTo>
                    <a:cubicBezTo>
                      <a:pt x="5799119" y="12412751"/>
                      <a:pt x="6892130" y="14919829"/>
                      <a:pt x="5858001" y="17019435"/>
                    </a:cubicBezTo>
                    <a:cubicBezTo>
                      <a:pt x="5164216" y="18428036"/>
                      <a:pt x="2069982" y="17511247"/>
                      <a:pt x="1" y="18050219"/>
                    </a:cubicBezTo>
                  </a:path>
                </a:pathLst>
              </a:custGeom>
              <a:noFill/>
              <a:ln w="19050" cap="flat">
                <a:solidFill>
                  <a:srgbClr val="FFC8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39B5A01B-66F8-1BC5-4E99-6A0E07E92034}"/>
                  </a:ext>
                </a:extLst>
              </p:cNvPr>
              <p:cNvSpPr/>
              <p:nvPr/>
            </p:nvSpPr>
            <p:spPr>
              <a:xfrm rot="4500000">
                <a:off x="1115351" y="-4416186"/>
                <a:ext cx="6215404" cy="17840058"/>
              </a:xfrm>
              <a:custGeom>
                <a:avLst/>
                <a:gdLst>
                  <a:gd name="connsiteX0" fmla="*/ 113319 w 24129995"/>
                  <a:gd name="connsiteY0" fmla="*/ 3540284 h 20143781"/>
                  <a:gd name="connsiteX1" fmla="*/ 10096286 w 24129995"/>
                  <a:gd name="connsiteY1" fmla="*/ 6962 h 20143781"/>
                  <a:gd name="connsiteX2" fmla="*/ 20242606 w 24129995"/>
                  <a:gd name="connsiteY2" fmla="*/ 2303723 h 20143781"/>
                  <a:gd name="connsiteX3" fmla="*/ 20931788 w 24129995"/>
                  <a:gd name="connsiteY3" fmla="*/ 7292230 h 20143781"/>
                  <a:gd name="connsiteX4" fmla="*/ 21928988 w 24129995"/>
                  <a:gd name="connsiteY4" fmla="*/ 12844360 h 20143781"/>
                  <a:gd name="connsiteX5" fmla="*/ 23845368 w 24129995"/>
                  <a:gd name="connsiteY5" fmla="*/ 18188434 h 20143781"/>
                  <a:gd name="connsiteX6" fmla="*/ 23845368 w 24129995"/>
                  <a:gd name="connsiteY6" fmla="*/ 18188434 h 20143781"/>
                  <a:gd name="connsiteX7" fmla="*/ 17914590 w 24129995"/>
                  <a:gd name="connsiteY7" fmla="*/ 19844362 h 20143781"/>
                  <a:gd name="connsiteX8" fmla="*/ 16475275 w 24129995"/>
                  <a:gd name="connsiteY8" fmla="*/ 19444094 h 20143781"/>
                  <a:gd name="connsiteX9" fmla="*/ 9204332 w 24129995"/>
                  <a:gd name="connsiteY9" fmla="*/ 15725471 h 20143781"/>
                  <a:gd name="connsiteX10" fmla="*/ 5261860 w 24129995"/>
                  <a:gd name="connsiteY10" fmla="*/ 12692788 h 20143781"/>
                  <a:gd name="connsiteX11" fmla="*/ 1956554 w 24129995"/>
                  <a:gd name="connsiteY11" fmla="*/ 8903457 h 20143781"/>
                  <a:gd name="connsiteX12" fmla="*/ 112913 w 24129995"/>
                  <a:gd name="connsiteY12" fmla="*/ 3540284 h 20143781"/>
                  <a:gd name="connsiteX0" fmla="*/ 16475275 w 24129995"/>
                  <a:gd name="connsiteY0" fmla="*/ 19444094 h 20143781"/>
                  <a:gd name="connsiteX1" fmla="*/ 9204332 w 24129995"/>
                  <a:gd name="connsiteY1" fmla="*/ 15725471 h 20143781"/>
                  <a:gd name="connsiteX2" fmla="*/ 5261860 w 24129995"/>
                  <a:gd name="connsiteY2" fmla="*/ 12692788 h 20143781"/>
                  <a:gd name="connsiteX3" fmla="*/ 1956554 w 24129995"/>
                  <a:gd name="connsiteY3" fmla="*/ 8903457 h 20143781"/>
                  <a:gd name="connsiteX4" fmla="*/ 112913 w 24129995"/>
                  <a:gd name="connsiteY4" fmla="*/ 3540284 h 20143781"/>
                  <a:gd name="connsiteX5" fmla="*/ 113319 w 24129995"/>
                  <a:gd name="connsiteY5" fmla="*/ 3540284 h 20143781"/>
                  <a:gd name="connsiteX6" fmla="*/ 10096286 w 24129995"/>
                  <a:gd name="connsiteY6" fmla="*/ 6962 h 20143781"/>
                  <a:gd name="connsiteX7" fmla="*/ 20242606 w 24129995"/>
                  <a:gd name="connsiteY7" fmla="*/ 2303723 h 20143781"/>
                  <a:gd name="connsiteX8" fmla="*/ 20931788 w 24129995"/>
                  <a:gd name="connsiteY8" fmla="*/ 7292230 h 20143781"/>
                  <a:gd name="connsiteX9" fmla="*/ 21928988 w 24129995"/>
                  <a:gd name="connsiteY9" fmla="*/ 12844360 h 20143781"/>
                  <a:gd name="connsiteX10" fmla="*/ 23845368 w 24129995"/>
                  <a:gd name="connsiteY10" fmla="*/ 18188434 h 20143781"/>
                  <a:gd name="connsiteX11" fmla="*/ 23845368 w 24129995"/>
                  <a:gd name="connsiteY11" fmla="*/ 18188434 h 20143781"/>
                  <a:gd name="connsiteX12" fmla="*/ 17914590 w 24129995"/>
                  <a:gd name="connsiteY12" fmla="*/ 19844362 h 20143781"/>
                  <a:gd name="connsiteX13" fmla="*/ 16683891 w 24129995"/>
                  <a:gd name="connsiteY13" fmla="*/ 19652710 h 20143781"/>
                  <a:gd name="connsiteX0" fmla="*/ 16475275 w 24129995"/>
                  <a:gd name="connsiteY0" fmla="*/ 19444094 h 20143781"/>
                  <a:gd name="connsiteX1" fmla="*/ 9204332 w 24129995"/>
                  <a:gd name="connsiteY1" fmla="*/ 15725471 h 20143781"/>
                  <a:gd name="connsiteX2" fmla="*/ 5261860 w 24129995"/>
                  <a:gd name="connsiteY2" fmla="*/ 12692788 h 20143781"/>
                  <a:gd name="connsiteX3" fmla="*/ 1956554 w 24129995"/>
                  <a:gd name="connsiteY3" fmla="*/ 8903457 h 20143781"/>
                  <a:gd name="connsiteX4" fmla="*/ 112913 w 24129995"/>
                  <a:gd name="connsiteY4" fmla="*/ 3540284 h 20143781"/>
                  <a:gd name="connsiteX5" fmla="*/ 113319 w 24129995"/>
                  <a:gd name="connsiteY5" fmla="*/ 3540284 h 20143781"/>
                  <a:gd name="connsiteX6" fmla="*/ 10096286 w 24129995"/>
                  <a:gd name="connsiteY6" fmla="*/ 6962 h 20143781"/>
                  <a:gd name="connsiteX7" fmla="*/ 20242606 w 24129995"/>
                  <a:gd name="connsiteY7" fmla="*/ 2303723 h 20143781"/>
                  <a:gd name="connsiteX8" fmla="*/ 20931788 w 24129995"/>
                  <a:gd name="connsiteY8" fmla="*/ 7292230 h 20143781"/>
                  <a:gd name="connsiteX9" fmla="*/ 21928988 w 24129995"/>
                  <a:gd name="connsiteY9" fmla="*/ 12844360 h 20143781"/>
                  <a:gd name="connsiteX10" fmla="*/ 23845368 w 24129995"/>
                  <a:gd name="connsiteY10" fmla="*/ 18188434 h 20143781"/>
                  <a:gd name="connsiteX11" fmla="*/ 23845368 w 24129995"/>
                  <a:gd name="connsiteY11" fmla="*/ 18188434 h 20143781"/>
                  <a:gd name="connsiteX12" fmla="*/ 17914590 w 24129995"/>
                  <a:gd name="connsiteY12" fmla="*/ 19844362 h 20143781"/>
                  <a:gd name="connsiteX0" fmla="*/ 9204332 w 24129995"/>
                  <a:gd name="connsiteY0" fmla="*/ 15725471 h 20143781"/>
                  <a:gd name="connsiteX1" fmla="*/ 5261860 w 24129995"/>
                  <a:gd name="connsiteY1" fmla="*/ 12692788 h 20143781"/>
                  <a:gd name="connsiteX2" fmla="*/ 1956554 w 24129995"/>
                  <a:gd name="connsiteY2" fmla="*/ 8903457 h 20143781"/>
                  <a:gd name="connsiteX3" fmla="*/ 112913 w 24129995"/>
                  <a:gd name="connsiteY3" fmla="*/ 3540284 h 20143781"/>
                  <a:gd name="connsiteX4" fmla="*/ 113319 w 24129995"/>
                  <a:gd name="connsiteY4" fmla="*/ 3540284 h 20143781"/>
                  <a:gd name="connsiteX5" fmla="*/ 10096286 w 24129995"/>
                  <a:gd name="connsiteY5" fmla="*/ 6962 h 20143781"/>
                  <a:gd name="connsiteX6" fmla="*/ 20242606 w 24129995"/>
                  <a:gd name="connsiteY6" fmla="*/ 2303723 h 20143781"/>
                  <a:gd name="connsiteX7" fmla="*/ 20931788 w 24129995"/>
                  <a:gd name="connsiteY7" fmla="*/ 7292230 h 20143781"/>
                  <a:gd name="connsiteX8" fmla="*/ 21928988 w 24129995"/>
                  <a:gd name="connsiteY8" fmla="*/ 12844360 h 20143781"/>
                  <a:gd name="connsiteX9" fmla="*/ 23845368 w 24129995"/>
                  <a:gd name="connsiteY9" fmla="*/ 18188434 h 20143781"/>
                  <a:gd name="connsiteX10" fmla="*/ 23845368 w 24129995"/>
                  <a:gd name="connsiteY10" fmla="*/ 18188434 h 20143781"/>
                  <a:gd name="connsiteX11" fmla="*/ 17914590 w 24129995"/>
                  <a:gd name="connsiteY11" fmla="*/ 19844362 h 20143781"/>
                  <a:gd name="connsiteX0" fmla="*/ 5261860 w 24129995"/>
                  <a:gd name="connsiteY0" fmla="*/ 12692788 h 20143781"/>
                  <a:gd name="connsiteX1" fmla="*/ 1956554 w 24129995"/>
                  <a:gd name="connsiteY1" fmla="*/ 8903457 h 20143781"/>
                  <a:gd name="connsiteX2" fmla="*/ 112913 w 24129995"/>
                  <a:gd name="connsiteY2" fmla="*/ 3540284 h 20143781"/>
                  <a:gd name="connsiteX3" fmla="*/ 113319 w 24129995"/>
                  <a:gd name="connsiteY3" fmla="*/ 3540284 h 20143781"/>
                  <a:gd name="connsiteX4" fmla="*/ 10096286 w 24129995"/>
                  <a:gd name="connsiteY4" fmla="*/ 6962 h 20143781"/>
                  <a:gd name="connsiteX5" fmla="*/ 20242606 w 24129995"/>
                  <a:gd name="connsiteY5" fmla="*/ 2303723 h 20143781"/>
                  <a:gd name="connsiteX6" fmla="*/ 20931788 w 24129995"/>
                  <a:gd name="connsiteY6" fmla="*/ 7292230 h 20143781"/>
                  <a:gd name="connsiteX7" fmla="*/ 21928988 w 24129995"/>
                  <a:gd name="connsiteY7" fmla="*/ 12844360 h 20143781"/>
                  <a:gd name="connsiteX8" fmla="*/ 23845368 w 24129995"/>
                  <a:gd name="connsiteY8" fmla="*/ 18188434 h 20143781"/>
                  <a:gd name="connsiteX9" fmla="*/ 23845368 w 24129995"/>
                  <a:gd name="connsiteY9" fmla="*/ 18188434 h 20143781"/>
                  <a:gd name="connsiteX10" fmla="*/ 17914590 w 24129995"/>
                  <a:gd name="connsiteY10" fmla="*/ 19844362 h 20143781"/>
                  <a:gd name="connsiteX0" fmla="*/ 1956554 w 24129995"/>
                  <a:gd name="connsiteY0" fmla="*/ 8903457 h 20143781"/>
                  <a:gd name="connsiteX1" fmla="*/ 112913 w 24129995"/>
                  <a:gd name="connsiteY1" fmla="*/ 3540284 h 20143781"/>
                  <a:gd name="connsiteX2" fmla="*/ 113319 w 24129995"/>
                  <a:gd name="connsiteY2" fmla="*/ 3540284 h 20143781"/>
                  <a:gd name="connsiteX3" fmla="*/ 10096286 w 24129995"/>
                  <a:gd name="connsiteY3" fmla="*/ 6962 h 20143781"/>
                  <a:gd name="connsiteX4" fmla="*/ 20242606 w 24129995"/>
                  <a:gd name="connsiteY4" fmla="*/ 2303723 h 20143781"/>
                  <a:gd name="connsiteX5" fmla="*/ 20931788 w 24129995"/>
                  <a:gd name="connsiteY5" fmla="*/ 7292230 h 20143781"/>
                  <a:gd name="connsiteX6" fmla="*/ 21928988 w 24129995"/>
                  <a:gd name="connsiteY6" fmla="*/ 12844360 h 20143781"/>
                  <a:gd name="connsiteX7" fmla="*/ 23845368 w 24129995"/>
                  <a:gd name="connsiteY7" fmla="*/ 18188434 h 20143781"/>
                  <a:gd name="connsiteX8" fmla="*/ 23845368 w 24129995"/>
                  <a:gd name="connsiteY8" fmla="*/ 18188434 h 20143781"/>
                  <a:gd name="connsiteX9" fmla="*/ 17914590 w 24129995"/>
                  <a:gd name="connsiteY9" fmla="*/ 19844362 h 20143781"/>
                  <a:gd name="connsiteX0" fmla="*/ -1 w 24017081"/>
                  <a:gd name="connsiteY0" fmla="*/ 3540284 h 20143781"/>
                  <a:gd name="connsiteX1" fmla="*/ 405 w 24017081"/>
                  <a:gd name="connsiteY1" fmla="*/ 3540284 h 20143781"/>
                  <a:gd name="connsiteX2" fmla="*/ 9983372 w 24017081"/>
                  <a:gd name="connsiteY2" fmla="*/ 6962 h 20143781"/>
                  <a:gd name="connsiteX3" fmla="*/ 20129692 w 24017081"/>
                  <a:gd name="connsiteY3" fmla="*/ 2303723 h 20143781"/>
                  <a:gd name="connsiteX4" fmla="*/ 20818874 w 24017081"/>
                  <a:gd name="connsiteY4" fmla="*/ 7292230 h 20143781"/>
                  <a:gd name="connsiteX5" fmla="*/ 21816074 w 24017081"/>
                  <a:gd name="connsiteY5" fmla="*/ 12844360 h 20143781"/>
                  <a:gd name="connsiteX6" fmla="*/ 23732454 w 24017081"/>
                  <a:gd name="connsiteY6" fmla="*/ 18188434 h 20143781"/>
                  <a:gd name="connsiteX7" fmla="*/ 23732454 w 24017081"/>
                  <a:gd name="connsiteY7" fmla="*/ 18188434 h 20143781"/>
                  <a:gd name="connsiteX8" fmla="*/ 17801676 w 24017081"/>
                  <a:gd name="connsiteY8" fmla="*/ 19844362 h 20143781"/>
                  <a:gd name="connsiteX0" fmla="*/ -1 w 24017081"/>
                  <a:gd name="connsiteY0" fmla="*/ 3533321 h 20136818"/>
                  <a:gd name="connsiteX1" fmla="*/ 9983372 w 24017081"/>
                  <a:gd name="connsiteY1" fmla="*/ -1 h 20136818"/>
                  <a:gd name="connsiteX2" fmla="*/ 20129692 w 24017081"/>
                  <a:gd name="connsiteY2" fmla="*/ 2296760 h 20136818"/>
                  <a:gd name="connsiteX3" fmla="*/ 20818874 w 24017081"/>
                  <a:gd name="connsiteY3" fmla="*/ 7285267 h 20136818"/>
                  <a:gd name="connsiteX4" fmla="*/ 21816074 w 24017081"/>
                  <a:gd name="connsiteY4" fmla="*/ 12837397 h 20136818"/>
                  <a:gd name="connsiteX5" fmla="*/ 23732454 w 24017081"/>
                  <a:gd name="connsiteY5" fmla="*/ 18181471 h 20136818"/>
                  <a:gd name="connsiteX6" fmla="*/ 23732454 w 24017081"/>
                  <a:gd name="connsiteY6" fmla="*/ 18181471 h 20136818"/>
                  <a:gd name="connsiteX7" fmla="*/ 17801676 w 24017081"/>
                  <a:gd name="connsiteY7" fmla="*/ 19837399 h 20136818"/>
                  <a:gd name="connsiteX0" fmla="*/ -1 w 14033708"/>
                  <a:gd name="connsiteY0" fmla="*/ -1 h 20136818"/>
                  <a:gd name="connsiteX1" fmla="*/ 10146319 w 14033708"/>
                  <a:gd name="connsiteY1" fmla="*/ 2296760 h 20136818"/>
                  <a:gd name="connsiteX2" fmla="*/ 10835501 w 14033708"/>
                  <a:gd name="connsiteY2" fmla="*/ 7285267 h 20136818"/>
                  <a:gd name="connsiteX3" fmla="*/ 11832701 w 14033708"/>
                  <a:gd name="connsiteY3" fmla="*/ 12837397 h 20136818"/>
                  <a:gd name="connsiteX4" fmla="*/ 13749081 w 14033708"/>
                  <a:gd name="connsiteY4" fmla="*/ 18181471 h 20136818"/>
                  <a:gd name="connsiteX5" fmla="*/ 13749081 w 14033708"/>
                  <a:gd name="connsiteY5" fmla="*/ 18181471 h 20136818"/>
                  <a:gd name="connsiteX6" fmla="*/ 7818303 w 14033708"/>
                  <a:gd name="connsiteY6" fmla="*/ 19837399 h 20136818"/>
                  <a:gd name="connsiteX0" fmla="*/ -1 w 14033708"/>
                  <a:gd name="connsiteY0" fmla="*/ -1 h 20136818"/>
                  <a:gd name="connsiteX1" fmla="*/ 8482550 w 14033708"/>
                  <a:gd name="connsiteY1" fmla="*/ 1255252 h 20136818"/>
                  <a:gd name="connsiteX2" fmla="*/ 10146319 w 14033708"/>
                  <a:gd name="connsiteY2" fmla="*/ 2296760 h 20136818"/>
                  <a:gd name="connsiteX3" fmla="*/ 10835501 w 14033708"/>
                  <a:gd name="connsiteY3" fmla="*/ 7285267 h 20136818"/>
                  <a:gd name="connsiteX4" fmla="*/ 11832701 w 14033708"/>
                  <a:gd name="connsiteY4" fmla="*/ 12837397 h 20136818"/>
                  <a:gd name="connsiteX5" fmla="*/ 13749081 w 14033708"/>
                  <a:gd name="connsiteY5" fmla="*/ 18181471 h 20136818"/>
                  <a:gd name="connsiteX6" fmla="*/ 13749081 w 14033708"/>
                  <a:gd name="connsiteY6" fmla="*/ 18181471 h 20136818"/>
                  <a:gd name="connsiteX7" fmla="*/ 7818303 w 14033708"/>
                  <a:gd name="connsiteY7" fmla="*/ 19837399 h 20136818"/>
                  <a:gd name="connsiteX0" fmla="*/ 664247 w 6215405"/>
                  <a:gd name="connsiteY0" fmla="*/ 0 h 18881566"/>
                  <a:gd name="connsiteX1" fmla="*/ 2328016 w 6215405"/>
                  <a:gd name="connsiteY1" fmla="*/ 1041508 h 18881566"/>
                  <a:gd name="connsiteX2" fmla="*/ 3017198 w 6215405"/>
                  <a:gd name="connsiteY2" fmla="*/ 6030015 h 18881566"/>
                  <a:gd name="connsiteX3" fmla="*/ 4014398 w 6215405"/>
                  <a:gd name="connsiteY3" fmla="*/ 11582145 h 18881566"/>
                  <a:gd name="connsiteX4" fmla="*/ 5930778 w 6215405"/>
                  <a:gd name="connsiteY4" fmla="*/ 16926219 h 18881566"/>
                  <a:gd name="connsiteX5" fmla="*/ 5930778 w 6215405"/>
                  <a:gd name="connsiteY5" fmla="*/ 16926219 h 18881566"/>
                  <a:gd name="connsiteX6" fmla="*/ 0 w 6215405"/>
                  <a:gd name="connsiteY6" fmla="*/ 18582147 h 18881566"/>
                  <a:gd name="connsiteX0" fmla="*/ 664247 w 6215405"/>
                  <a:gd name="connsiteY0" fmla="*/ 0 h 18881566"/>
                  <a:gd name="connsiteX1" fmla="*/ 2328016 w 6215405"/>
                  <a:gd name="connsiteY1" fmla="*/ 1041508 h 18881566"/>
                  <a:gd name="connsiteX2" fmla="*/ 3017198 w 6215405"/>
                  <a:gd name="connsiteY2" fmla="*/ 6030015 h 18881566"/>
                  <a:gd name="connsiteX3" fmla="*/ 4014398 w 6215405"/>
                  <a:gd name="connsiteY3" fmla="*/ 11582145 h 18881566"/>
                  <a:gd name="connsiteX4" fmla="*/ 5930778 w 6215405"/>
                  <a:gd name="connsiteY4" fmla="*/ 16926219 h 18881566"/>
                  <a:gd name="connsiteX5" fmla="*/ 5930778 w 6215405"/>
                  <a:gd name="connsiteY5" fmla="*/ 16926219 h 18881566"/>
                  <a:gd name="connsiteX6" fmla="*/ 0 w 6215405"/>
                  <a:gd name="connsiteY6" fmla="*/ 18582147 h 18881566"/>
                  <a:gd name="connsiteX0" fmla="*/ 664247 w 6215405"/>
                  <a:gd name="connsiteY0" fmla="*/ 0 h 18881566"/>
                  <a:gd name="connsiteX1" fmla="*/ 2328016 w 6215405"/>
                  <a:gd name="connsiteY1" fmla="*/ 1041508 h 18881566"/>
                  <a:gd name="connsiteX2" fmla="*/ 3017198 w 6215405"/>
                  <a:gd name="connsiteY2" fmla="*/ 6030015 h 18881566"/>
                  <a:gd name="connsiteX3" fmla="*/ 4014398 w 6215405"/>
                  <a:gd name="connsiteY3" fmla="*/ 11582145 h 18881566"/>
                  <a:gd name="connsiteX4" fmla="*/ 5930778 w 6215405"/>
                  <a:gd name="connsiteY4" fmla="*/ 16926219 h 18881566"/>
                  <a:gd name="connsiteX5" fmla="*/ 5930778 w 6215405"/>
                  <a:gd name="connsiteY5" fmla="*/ 16926219 h 18881566"/>
                  <a:gd name="connsiteX6" fmla="*/ 0 w 6215405"/>
                  <a:gd name="connsiteY6" fmla="*/ 18582147 h 18881566"/>
                  <a:gd name="connsiteX0" fmla="*/ 2328016 w 6215405"/>
                  <a:gd name="connsiteY0" fmla="*/ 0 h 17840058"/>
                  <a:gd name="connsiteX1" fmla="*/ 3017198 w 6215405"/>
                  <a:gd name="connsiteY1" fmla="*/ 4988507 h 17840058"/>
                  <a:gd name="connsiteX2" fmla="*/ 4014398 w 6215405"/>
                  <a:gd name="connsiteY2" fmla="*/ 10540637 h 17840058"/>
                  <a:gd name="connsiteX3" fmla="*/ 5930778 w 6215405"/>
                  <a:gd name="connsiteY3" fmla="*/ 15884711 h 17840058"/>
                  <a:gd name="connsiteX4" fmla="*/ 5930778 w 6215405"/>
                  <a:gd name="connsiteY4" fmla="*/ 15884711 h 17840058"/>
                  <a:gd name="connsiteX5" fmla="*/ 0 w 6215405"/>
                  <a:gd name="connsiteY5" fmla="*/ 17540639 h 17840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215405" h="17840058">
                    <a:moveTo>
                      <a:pt x="2328016" y="0"/>
                    </a:moveTo>
                    <a:cubicBezTo>
                      <a:pt x="3895614" y="1646720"/>
                      <a:pt x="3330500" y="3892140"/>
                      <a:pt x="3017198" y="4988507"/>
                    </a:cubicBezTo>
                    <a:cubicBezTo>
                      <a:pt x="2713244" y="6103159"/>
                      <a:pt x="1454350" y="8525079"/>
                      <a:pt x="4014398" y="10540637"/>
                    </a:cubicBezTo>
                    <a:cubicBezTo>
                      <a:pt x="5631700" y="11976317"/>
                      <a:pt x="6772748" y="14116221"/>
                      <a:pt x="5930778" y="15884711"/>
                    </a:cubicBezTo>
                    <a:lnTo>
                      <a:pt x="5930778" y="15884711"/>
                    </a:lnTo>
                    <a:cubicBezTo>
                      <a:pt x="4892130" y="17863291"/>
                      <a:pt x="2654730" y="18182691"/>
                      <a:pt x="0" y="17540639"/>
                    </a:cubicBezTo>
                  </a:path>
                </a:pathLst>
              </a:custGeom>
              <a:noFill/>
              <a:ln w="19050" cap="flat">
                <a:solidFill>
                  <a:srgbClr val="FECD6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8C89B46A-8CF1-E3EC-EA41-3FEDC5ACCE23}"/>
                  </a:ext>
                </a:extLst>
              </p:cNvPr>
              <p:cNvSpPr/>
              <p:nvPr/>
            </p:nvSpPr>
            <p:spPr>
              <a:xfrm rot="4500000">
                <a:off x="1420975" y="-4174209"/>
                <a:ext cx="5949881" cy="17267918"/>
              </a:xfrm>
              <a:custGeom>
                <a:avLst/>
                <a:gdLst>
                  <a:gd name="connsiteX0" fmla="*/ 120452 w 23266132"/>
                  <a:gd name="connsiteY0" fmla="*/ 3610271 h 19534753"/>
                  <a:gd name="connsiteX1" fmla="*/ 9810841 w 23266132"/>
                  <a:gd name="connsiteY1" fmla="*/ 4616 h 19534753"/>
                  <a:gd name="connsiteX2" fmla="*/ 19556496 w 23266132"/>
                  <a:gd name="connsiteY2" fmla="*/ 2266836 h 19534753"/>
                  <a:gd name="connsiteX3" fmla="*/ 20308662 w 23266132"/>
                  <a:gd name="connsiteY3" fmla="*/ 7026155 h 19534753"/>
                  <a:gd name="connsiteX4" fmla="*/ 21282292 w 23266132"/>
                  <a:gd name="connsiteY4" fmla="*/ 12364946 h 19534753"/>
                  <a:gd name="connsiteX5" fmla="*/ 22967454 w 23266132"/>
                  <a:gd name="connsiteY5" fmla="*/ 17602958 h 19534753"/>
                  <a:gd name="connsiteX6" fmla="*/ 22967454 w 23266132"/>
                  <a:gd name="connsiteY6" fmla="*/ 17602958 h 19534753"/>
                  <a:gd name="connsiteX7" fmla="*/ 17316252 w 23266132"/>
                  <a:gd name="connsiteY7" fmla="*/ 19297896 h 19534753"/>
                  <a:gd name="connsiteX8" fmla="*/ 15935450 w 23266132"/>
                  <a:gd name="connsiteY8" fmla="*/ 18953302 h 19534753"/>
                  <a:gd name="connsiteX9" fmla="*/ 8931892 w 23266132"/>
                  <a:gd name="connsiteY9" fmla="*/ 15567082 h 19534753"/>
                  <a:gd name="connsiteX10" fmla="*/ 5006893 w 23266132"/>
                  <a:gd name="connsiteY10" fmla="*/ 12632332 h 19534753"/>
                  <a:gd name="connsiteX11" fmla="*/ 1797893 w 23266132"/>
                  <a:gd name="connsiteY11" fmla="*/ 8857224 h 19534753"/>
                  <a:gd name="connsiteX12" fmla="*/ 120452 w 23266132"/>
                  <a:gd name="connsiteY12" fmla="*/ 3610271 h 19534753"/>
                  <a:gd name="connsiteX0" fmla="*/ 15935450 w 23266132"/>
                  <a:gd name="connsiteY0" fmla="*/ 18953302 h 19534753"/>
                  <a:gd name="connsiteX1" fmla="*/ 8931892 w 23266132"/>
                  <a:gd name="connsiteY1" fmla="*/ 15567082 h 19534753"/>
                  <a:gd name="connsiteX2" fmla="*/ 5006893 w 23266132"/>
                  <a:gd name="connsiteY2" fmla="*/ 12632332 h 19534753"/>
                  <a:gd name="connsiteX3" fmla="*/ 1797893 w 23266132"/>
                  <a:gd name="connsiteY3" fmla="*/ 8857224 h 19534753"/>
                  <a:gd name="connsiteX4" fmla="*/ 120452 w 23266132"/>
                  <a:gd name="connsiteY4" fmla="*/ 3610271 h 19534753"/>
                  <a:gd name="connsiteX5" fmla="*/ 9810841 w 23266132"/>
                  <a:gd name="connsiteY5" fmla="*/ 4616 h 19534753"/>
                  <a:gd name="connsiteX6" fmla="*/ 19556496 w 23266132"/>
                  <a:gd name="connsiteY6" fmla="*/ 2266836 h 19534753"/>
                  <a:gd name="connsiteX7" fmla="*/ 20308662 w 23266132"/>
                  <a:gd name="connsiteY7" fmla="*/ 7026155 h 19534753"/>
                  <a:gd name="connsiteX8" fmla="*/ 21282292 w 23266132"/>
                  <a:gd name="connsiteY8" fmla="*/ 12364946 h 19534753"/>
                  <a:gd name="connsiteX9" fmla="*/ 22967454 w 23266132"/>
                  <a:gd name="connsiteY9" fmla="*/ 17602958 h 19534753"/>
                  <a:gd name="connsiteX10" fmla="*/ 22967454 w 23266132"/>
                  <a:gd name="connsiteY10" fmla="*/ 17602958 h 19534753"/>
                  <a:gd name="connsiteX11" fmla="*/ 17316252 w 23266132"/>
                  <a:gd name="connsiteY11" fmla="*/ 19297896 h 19534753"/>
                  <a:gd name="connsiteX12" fmla="*/ 16144066 w 23266132"/>
                  <a:gd name="connsiteY12" fmla="*/ 19161918 h 19534753"/>
                  <a:gd name="connsiteX0" fmla="*/ 15935450 w 23266132"/>
                  <a:gd name="connsiteY0" fmla="*/ 18953302 h 19534753"/>
                  <a:gd name="connsiteX1" fmla="*/ 8931892 w 23266132"/>
                  <a:gd name="connsiteY1" fmla="*/ 15567082 h 19534753"/>
                  <a:gd name="connsiteX2" fmla="*/ 5006893 w 23266132"/>
                  <a:gd name="connsiteY2" fmla="*/ 12632332 h 19534753"/>
                  <a:gd name="connsiteX3" fmla="*/ 1797893 w 23266132"/>
                  <a:gd name="connsiteY3" fmla="*/ 8857224 h 19534753"/>
                  <a:gd name="connsiteX4" fmla="*/ 120452 w 23266132"/>
                  <a:gd name="connsiteY4" fmla="*/ 3610271 h 19534753"/>
                  <a:gd name="connsiteX5" fmla="*/ 9810841 w 23266132"/>
                  <a:gd name="connsiteY5" fmla="*/ 4616 h 19534753"/>
                  <a:gd name="connsiteX6" fmla="*/ 19556496 w 23266132"/>
                  <a:gd name="connsiteY6" fmla="*/ 2266836 h 19534753"/>
                  <a:gd name="connsiteX7" fmla="*/ 20308662 w 23266132"/>
                  <a:gd name="connsiteY7" fmla="*/ 7026155 h 19534753"/>
                  <a:gd name="connsiteX8" fmla="*/ 21282292 w 23266132"/>
                  <a:gd name="connsiteY8" fmla="*/ 12364946 h 19534753"/>
                  <a:gd name="connsiteX9" fmla="*/ 22967454 w 23266132"/>
                  <a:gd name="connsiteY9" fmla="*/ 17602958 h 19534753"/>
                  <a:gd name="connsiteX10" fmla="*/ 22967454 w 23266132"/>
                  <a:gd name="connsiteY10" fmla="*/ 17602958 h 19534753"/>
                  <a:gd name="connsiteX11" fmla="*/ 17316252 w 23266132"/>
                  <a:gd name="connsiteY11" fmla="*/ 19297896 h 19534753"/>
                  <a:gd name="connsiteX0" fmla="*/ 8931892 w 23266132"/>
                  <a:gd name="connsiteY0" fmla="*/ 15567082 h 19534753"/>
                  <a:gd name="connsiteX1" fmla="*/ 5006893 w 23266132"/>
                  <a:gd name="connsiteY1" fmla="*/ 12632332 h 19534753"/>
                  <a:gd name="connsiteX2" fmla="*/ 1797893 w 23266132"/>
                  <a:gd name="connsiteY2" fmla="*/ 8857224 h 19534753"/>
                  <a:gd name="connsiteX3" fmla="*/ 120452 w 23266132"/>
                  <a:gd name="connsiteY3" fmla="*/ 3610271 h 19534753"/>
                  <a:gd name="connsiteX4" fmla="*/ 9810841 w 23266132"/>
                  <a:gd name="connsiteY4" fmla="*/ 4616 h 19534753"/>
                  <a:gd name="connsiteX5" fmla="*/ 19556496 w 23266132"/>
                  <a:gd name="connsiteY5" fmla="*/ 2266836 h 19534753"/>
                  <a:gd name="connsiteX6" fmla="*/ 20308662 w 23266132"/>
                  <a:gd name="connsiteY6" fmla="*/ 7026155 h 19534753"/>
                  <a:gd name="connsiteX7" fmla="*/ 21282292 w 23266132"/>
                  <a:gd name="connsiteY7" fmla="*/ 12364946 h 19534753"/>
                  <a:gd name="connsiteX8" fmla="*/ 22967454 w 23266132"/>
                  <a:gd name="connsiteY8" fmla="*/ 17602958 h 19534753"/>
                  <a:gd name="connsiteX9" fmla="*/ 22967454 w 23266132"/>
                  <a:gd name="connsiteY9" fmla="*/ 17602958 h 19534753"/>
                  <a:gd name="connsiteX10" fmla="*/ 17316252 w 23266132"/>
                  <a:gd name="connsiteY10" fmla="*/ 19297896 h 19534753"/>
                  <a:gd name="connsiteX0" fmla="*/ 5006893 w 23266132"/>
                  <a:gd name="connsiteY0" fmla="*/ 12632332 h 19534753"/>
                  <a:gd name="connsiteX1" fmla="*/ 1797893 w 23266132"/>
                  <a:gd name="connsiteY1" fmla="*/ 8857224 h 19534753"/>
                  <a:gd name="connsiteX2" fmla="*/ 120452 w 23266132"/>
                  <a:gd name="connsiteY2" fmla="*/ 3610271 h 19534753"/>
                  <a:gd name="connsiteX3" fmla="*/ 9810841 w 23266132"/>
                  <a:gd name="connsiteY3" fmla="*/ 4616 h 19534753"/>
                  <a:gd name="connsiteX4" fmla="*/ 19556496 w 23266132"/>
                  <a:gd name="connsiteY4" fmla="*/ 2266836 h 19534753"/>
                  <a:gd name="connsiteX5" fmla="*/ 20308662 w 23266132"/>
                  <a:gd name="connsiteY5" fmla="*/ 7026155 h 19534753"/>
                  <a:gd name="connsiteX6" fmla="*/ 21282292 w 23266132"/>
                  <a:gd name="connsiteY6" fmla="*/ 12364946 h 19534753"/>
                  <a:gd name="connsiteX7" fmla="*/ 22967454 w 23266132"/>
                  <a:gd name="connsiteY7" fmla="*/ 17602958 h 19534753"/>
                  <a:gd name="connsiteX8" fmla="*/ 22967454 w 23266132"/>
                  <a:gd name="connsiteY8" fmla="*/ 17602958 h 19534753"/>
                  <a:gd name="connsiteX9" fmla="*/ 17316252 w 23266132"/>
                  <a:gd name="connsiteY9" fmla="*/ 19297896 h 19534753"/>
                  <a:gd name="connsiteX0" fmla="*/ 1797893 w 23266132"/>
                  <a:gd name="connsiteY0" fmla="*/ 8857224 h 19534753"/>
                  <a:gd name="connsiteX1" fmla="*/ 120452 w 23266132"/>
                  <a:gd name="connsiteY1" fmla="*/ 3610271 h 19534753"/>
                  <a:gd name="connsiteX2" fmla="*/ 9810841 w 23266132"/>
                  <a:gd name="connsiteY2" fmla="*/ 4616 h 19534753"/>
                  <a:gd name="connsiteX3" fmla="*/ 19556496 w 23266132"/>
                  <a:gd name="connsiteY3" fmla="*/ 2266836 h 19534753"/>
                  <a:gd name="connsiteX4" fmla="*/ 20308662 w 23266132"/>
                  <a:gd name="connsiteY4" fmla="*/ 7026155 h 19534753"/>
                  <a:gd name="connsiteX5" fmla="*/ 21282292 w 23266132"/>
                  <a:gd name="connsiteY5" fmla="*/ 12364946 h 19534753"/>
                  <a:gd name="connsiteX6" fmla="*/ 22967454 w 23266132"/>
                  <a:gd name="connsiteY6" fmla="*/ 17602958 h 19534753"/>
                  <a:gd name="connsiteX7" fmla="*/ 22967454 w 23266132"/>
                  <a:gd name="connsiteY7" fmla="*/ 17602958 h 19534753"/>
                  <a:gd name="connsiteX8" fmla="*/ 17316252 w 23266132"/>
                  <a:gd name="connsiteY8" fmla="*/ 19297896 h 19534753"/>
                  <a:gd name="connsiteX0" fmla="*/ 0 w 23145680"/>
                  <a:gd name="connsiteY0" fmla="*/ 3610271 h 19534753"/>
                  <a:gd name="connsiteX1" fmla="*/ 9690389 w 23145680"/>
                  <a:gd name="connsiteY1" fmla="*/ 4616 h 19534753"/>
                  <a:gd name="connsiteX2" fmla="*/ 19436044 w 23145680"/>
                  <a:gd name="connsiteY2" fmla="*/ 2266836 h 19534753"/>
                  <a:gd name="connsiteX3" fmla="*/ 20188210 w 23145680"/>
                  <a:gd name="connsiteY3" fmla="*/ 7026155 h 19534753"/>
                  <a:gd name="connsiteX4" fmla="*/ 21161840 w 23145680"/>
                  <a:gd name="connsiteY4" fmla="*/ 12364946 h 19534753"/>
                  <a:gd name="connsiteX5" fmla="*/ 22847002 w 23145680"/>
                  <a:gd name="connsiteY5" fmla="*/ 17602958 h 19534753"/>
                  <a:gd name="connsiteX6" fmla="*/ 22847002 w 23145680"/>
                  <a:gd name="connsiteY6" fmla="*/ 17602958 h 19534753"/>
                  <a:gd name="connsiteX7" fmla="*/ 17195800 w 23145680"/>
                  <a:gd name="connsiteY7" fmla="*/ 19297896 h 19534753"/>
                  <a:gd name="connsiteX0" fmla="*/ -1 w 13455290"/>
                  <a:gd name="connsiteY0" fmla="*/ 1 h 19530138"/>
                  <a:gd name="connsiteX1" fmla="*/ 9745654 w 13455290"/>
                  <a:gd name="connsiteY1" fmla="*/ 2262221 h 19530138"/>
                  <a:gd name="connsiteX2" fmla="*/ 10497820 w 13455290"/>
                  <a:gd name="connsiteY2" fmla="*/ 7021540 h 19530138"/>
                  <a:gd name="connsiteX3" fmla="*/ 11471450 w 13455290"/>
                  <a:gd name="connsiteY3" fmla="*/ 12360331 h 19530138"/>
                  <a:gd name="connsiteX4" fmla="*/ 13156612 w 13455290"/>
                  <a:gd name="connsiteY4" fmla="*/ 17598343 h 19530138"/>
                  <a:gd name="connsiteX5" fmla="*/ 13156612 w 13455290"/>
                  <a:gd name="connsiteY5" fmla="*/ 17598343 h 19530138"/>
                  <a:gd name="connsiteX6" fmla="*/ 7505410 w 13455290"/>
                  <a:gd name="connsiteY6" fmla="*/ 19293281 h 19530138"/>
                  <a:gd name="connsiteX0" fmla="*/ 2240245 w 5949881"/>
                  <a:gd name="connsiteY0" fmla="*/ 0 h 17267917"/>
                  <a:gd name="connsiteX1" fmla="*/ 2992411 w 5949881"/>
                  <a:gd name="connsiteY1" fmla="*/ 4759319 h 17267917"/>
                  <a:gd name="connsiteX2" fmla="*/ 3966041 w 5949881"/>
                  <a:gd name="connsiteY2" fmla="*/ 10098110 h 17267917"/>
                  <a:gd name="connsiteX3" fmla="*/ 5651203 w 5949881"/>
                  <a:gd name="connsiteY3" fmla="*/ 15336122 h 17267917"/>
                  <a:gd name="connsiteX4" fmla="*/ 5651203 w 5949881"/>
                  <a:gd name="connsiteY4" fmla="*/ 15336122 h 17267917"/>
                  <a:gd name="connsiteX5" fmla="*/ 1 w 5949881"/>
                  <a:gd name="connsiteY5" fmla="*/ 17031060 h 17267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49881" h="17267917">
                    <a:moveTo>
                      <a:pt x="2240245" y="0"/>
                    </a:moveTo>
                    <a:cubicBezTo>
                      <a:pt x="3912401" y="1372693"/>
                      <a:pt x="3252885" y="3689366"/>
                      <a:pt x="2992411" y="4759319"/>
                    </a:cubicBezTo>
                    <a:cubicBezTo>
                      <a:pt x="2744533" y="5853653"/>
                      <a:pt x="1601857" y="8161792"/>
                      <a:pt x="3966041" y="10098110"/>
                    </a:cubicBezTo>
                    <a:cubicBezTo>
                      <a:pt x="5463061" y="11539883"/>
                      <a:pt x="6484235" y="13618834"/>
                      <a:pt x="5651203" y="15336122"/>
                    </a:cubicBezTo>
                    <a:lnTo>
                      <a:pt x="5651203" y="15336122"/>
                    </a:lnTo>
                    <a:cubicBezTo>
                      <a:pt x="4647095" y="17231398"/>
                      <a:pt x="2520225" y="17582494"/>
                      <a:pt x="1" y="17031060"/>
                    </a:cubicBezTo>
                  </a:path>
                </a:pathLst>
              </a:custGeom>
              <a:noFill/>
              <a:ln w="19050" cap="flat">
                <a:solidFill>
                  <a:srgbClr val="FED25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FDDC0EC1-5204-911A-A2C9-A49557B425A9}"/>
                  </a:ext>
                </a:extLst>
              </p:cNvPr>
              <p:cNvSpPr/>
              <p:nvPr/>
            </p:nvSpPr>
            <p:spPr>
              <a:xfrm rot="4500000">
                <a:off x="2226848" y="-4588454"/>
                <a:ext cx="5686957" cy="17742969"/>
              </a:xfrm>
              <a:custGeom>
                <a:avLst/>
                <a:gdLst>
                  <a:gd name="connsiteX0" fmla="*/ 128336 w 22406432"/>
                  <a:gd name="connsiteY0" fmla="*/ 3680848 h 18930718"/>
                  <a:gd name="connsiteX1" fmla="*/ 9526961 w 22406432"/>
                  <a:gd name="connsiteY1" fmla="*/ 2860 h 18930718"/>
                  <a:gd name="connsiteX2" fmla="*/ 18871540 w 22406432"/>
                  <a:gd name="connsiteY2" fmla="*/ 2230946 h 18930718"/>
                  <a:gd name="connsiteX3" fmla="*/ 19687098 w 22406432"/>
                  <a:gd name="connsiteY3" fmla="*/ 6761076 h 18930718"/>
                  <a:gd name="connsiteX4" fmla="*/ 20637568 w 22406432"/>
                  <a:gd name="connsiteY4" fmla="*/ 11886120 h 18930718"/>
                  <a:gd name="connsiteX5" fmla="*/ 22091512 w 22406432"/>
                  <a:gd name="connsiteY5" fmla="*/ 17018480 h 18930718"/>
                  <a:gd name="connsiteX6" fmla="*/ 22091512 w 22406432"/>
                  <a:gd name="connsiteY6" fmla="*/ 17018480 h 18930718"/>
                  <a:gd name="connsiteX7" fmla="*/ 16719476 w 22406432"/>
                  <a:gd name="connsiteY7" fmla="*/ 18752022 h 18930718"/>
                  <a:gd name="connsiteX8" fmla="*/ 15396785 w 22406432"/>
                  <a:gd name="connsiteY8" fmla="*/ 18463504 h 18930718"/>
                  <a:gd name="connsiteX9" fmla="*/ 8660609 w 22406432"/>
                  <a:gd name="connsiteY9" fmla="*/ 15409689 h 18930718"/>
                  <a:gd name="connsiteX10" fmla="*/ 4753082 w 22406432"/>
                  <a:gd name="connsiteY10" fmla="*/ 12572872 h 18930718"/>
                  <a:gd name="connsiteX11" fmla="*/ 1640390 w 22406432"/>
                  <a:gd name="connsiteY11" fmla="*/ 8811987 h 18930718"/>
                  <a:gd name="connsiteX12" fmla="*/ 128742 w 22406432"/>
                  <a:gd name="connsiteY12" fmla="*/ 3681254 h 18930718"/>
                  <a:gd name="connsiteX0" fmla="*/ 15396785 w 22406432"/>
                  <a:gd name="connsiteY0" fmla="*/ 18463504 h 18930718"/>
                  <a:gd name="connsiteX1" fmla="*/ 8660609 w 22406432"/>
                  <a:gd name="connsiteY1" fmla="*/ 15409689 h 18930718"/>
                  <a:gd name="connsiteX2" fmla="*/ 4753082 w 22406432"/>
                  <a:gd name="connsiteY2" fmla="*/ 12572872 h 18930718"/>
                  <a:gd name="connsiteX3" fmla="*/ 1640390 w 22406432"/>
                  <a:gd name="connsiteY3" fmla="*/ 8811987 h 18930718"/>
                  <a:gd name="connsiteX4" fmla="*/ 128742 w 22406432"/>
                  <a:gd name="connsiteY4" fmla="*/ 3681254 h 18930718"/>
                  <a:gd name="connsiteX5" fmla="*/ 128336 w 22406432"/>
                  <a:gd name="connsiteY5" fmla="*/ 3680848 h 18930718"/>
                  <a:gd name="connsiteX6" fmla="*/ 9526961 w 22406432"/>
                  <a:gd name="connsiteY6" fmla="*/ 2860 h 18930718"/>
                  <a:gd name="connsiteX7" fmla="*/ 18871540 w 22406432"/>
                  <a:gd name="connsiteY7" fmla="*/ 2230946 h 18930718"/>
                  <a:gd name="connsiteX8" fmla="*/ 19687098 w 22406432"/>
                  <a:gd name="connsiteY8" fmla="*/ 6761076 h 18930718"/>
                  <a:gd name="connsiteX9" fmla="*/ 20637568 w 22406432"/>
                  <a:gd name="connsiteY9" fmla="*/ 11886120 h 18930718"/>
                  <a:gd name="connsiteX10" fmla="*/ 22091512 w 22406432"/>
                  <a:gd name="connsiteY10" fmla="*/ 17018480 h 18930718"/>
                  <a:gd name="connsiteX11" fmla="*/ 22091512 w 22406432"/>
                  <a:gd name="connsiteY11" fmla="*/ 17018480 h 18930718"/>
                  <a:gd name="connsiteX12" fmla="*/ 16719476 w 22406432"/>
                  <a:gd name="connsiteY12" fmla="*/ 18752022 h 18930718"/>
                  <a:gd name="connsiteX13" fmla="*/ 15605401 w 22406432"/>
                  <a:gd name="connsiteY13" fmla="*/ 18672120 h 18930718"/>
                  <a:gd name="connsiteX0" fmla="*/ 15396785 w 22406432"/>
                  <a:gd name="connsiteY0" fmla="*/ 18463504 h 18930718"/>
                  <a:gd name="connsiteX1" fmla="*/ 8660609 w 22406432"/>
                  <a:gd name="connsiteY1" fmla="*/ 15409689 h 18930718"/>
                  <a:gd name="connsiteX2" fmla="*/ 4753082 w 22406432"/>
                  <a:gd name="connsiteY2" fmla="*/ 12572872 h 18930718"/>
                  <a:gd name="connsiteX3" fmla="*/ 1640390 w 22406432"/>
                  <a:gd name="connsiteY3" fmla="*/ 8811987 h 18930718"/>
                  <a:gd name="connsiteX4" fmla="*/ 128742 w 22406432"/>
                  <a:gd name="connsiteY4" fmla="*/ 3681254 h 18930718"/>
                  <a:gd name="connsiteX5" fmla="*/ 128336 w 22406432"/>
                  <a:gd name="connsiteY5" fmla="*/ 3680848 h 18930718"/>
                  <a:gd name="connsiteX6" fmla="*/ 9526961 w 22406432"/>
                  <a:gd name="connsiteY6" fmla="*/ 2860 h 18930718"/>
                  <a:gd name="connsiteX7" fmla="*/ 18871540 w 22406432"/>
                  <a:gd name="connsiteY7" fmla="*/ 2230946 h 18930718"/>
                  <a:gd name="connsiteX8" fmla="*/ 19687098 w 22406432"/>
                  <a:gd name="connsiteY8" fmla="*/ 6761076 h 18930718"/>
                  <a:gd name="connsiteX9" fmla="*/ 20637568 w 22406432"/>
                  <a:gd name="connsiteY9" fmla="*/ 11886120 h 18930718"/>
                  <a:gd name="connsiteX10" fmla="*/ 22091512 w 22406432"/>
                  <a:gd name="connsiteY10" fmla="*/ 17018480 h 18930718"/>
                  <a:gd name="connsiteX11" fmla="*/ 22091512 w 22406432"/>
                  <a:gd name="connsiteY11" fmla="*/ 17018480 h 18930718"/>
                  <a:gd name="connsiteX12" fmla="*/ 16719476 w 22406432"/>
                  <a:gd name="connsiteY12" fmla="*/ 18752022 h 18930718"/>
                  <a:gd name="connsiteX0" fmla="*/ 8660609 w 22406432"/>
                  <a:gd name="connsiteY0" fmla="*/ 15409689 h 18930718"/>
                  <a:gd name="connsiteX1" fmla="*/ 4753082 w 22406432"/>
                  <a:gd name="connsiteY1" fmla="*/ 12572872 h 18930718"/>
                  <a:gd name="connsiteX2" fmla="*/ 1640390 w 22406432"/>
                  <a:gd name="connsiteY2" fmla="*/ 8811987 h 18930718"/>
                  <a:gd name="connsiteX3" fmla="*/ 128742 w 22406432"/>
                  <a:gd name="connsiteY3" fmla="*/ 3681254 h 18930718"/>
                  <a:gd name="connsiteX4" fmla="*/ 128336 w 22406432"/>
                  <a:gd name="connsiteY4" fmla="*/ 3680848 h 18930718"/>
                  <a:gd name="connsiteX5" fmla="*/ 9526961 w 22406432"/>
                  <a:gd name="connsiteY5" fmla="*/ 2860 h 18930718"/>
                  <a:gd name="connsiteX6" fmla="*/ 18871540 w 22406432"/>
                  <a:gd name="connsiteY6" fmla="*/ 2230946 h 18930718"/>
                  <a:gd name="connsiteX7" fmla="*/ 19687098 w 22406432"/>
                  <a:gd name="connsiteY7" fmla="*/ 6761076 h 18930718"/>
                  <a:gd name="connsiteX8" fmla="*/ 20637568 w 22406432"/>
                  <a:gd name="connsiteY8" fmla="*/ 11886120 h 18930718"/>
                  <a:gd name="connsiteX9" fmla="*/ 22091512 w 22406432"/>
                  <a:gd name="connsiteY9" fmla="*/ 17018480 h 18930718"/>
                  <a:gd name="connsiteX10" fmla="*/ 22091512 w 22406432"/>
                  <a:gd name="connsiteY10" fmla="*/ 17018480 h 18930718"/>
                  <a:gd name="connsiteX11" fmla="*/ 16719476 w 22406432"/>
                  <a:gd name="connsiteY11" fmla="*/ 18752022 h 18930718"/>
                  <a:gd name="connsiteX0" fmla="*/ 4753082 w 22406432"/>
                  <a:gd name="connsiteY0" fmla="*/ 12572872 h 18930718"/>
                  <a:gd name="connsiteX1" fmla="*/ 1640390 w 22406432"/>
                  <a:gd name="connsiteY1" fmla="*/ 8811987 h 18930718"/>
                  <a:gd name="connsiteX2" fmla="*/ 128742 w 22406432"/>
                  <a:gd name="connsiteY2" fmla="*/ 3681254 h 18930718"/>
                  <a:gd name="connsiteX3" fmla="*/ 128336 w 22406432"/>
                  <a:gd name="connsiteY3" fmla="*/ 3680848 h 18930718"/>
                  <a:gd name="connsiteX4" fmla="*/ 9526961 w 22406432"/>
                  <a:gd name="connsiteY4" fmla="*/ 2860 h 18930718"/>
                  <a:gd name="connsiteX5" fmla="*/ 18871540 w 22406432"/>
                  <a:gd name="connsiteY5" fmla="*/ 2230946 h 18930718"/>
                  <a:gd name="connsiteX6" fmla="*/ 19687098 w 22406432"/>
                  <a:gd name="connsiteY6" fmla="*/ 6761076 h 18930718"/>
                  <a:gd name="connsiteX7" fmla="*/ 20637568 w 22406432"/>
                  <a:gd name="connsiteY7" fmla="*/ 11886120 h 18930718"/>
                  <a:gd name="connsiteX8" fmla="*/ 22091512 w 22406432"/>
                  <a:gd name="connsiteY8" fmla="*/ 17018480 h 18930718"/>
                  <a:gd name="connsiteX9" fmla="*/ 22091512 w 22406432"/>
                  <a:gd name="connsiteY9" fmla="*/ 17018480 h 18930718"/>
                  <a:gd name="connsiteX10" fmla="*/ 16719476 w 22406432"/>
                  <a:gd name="connsiteY10" fmla="*/ 18752022 h 18930718"/>
                  <a:gd name="connsiteX0" fmla="*/ 1640390 w 22406432"/>
                  <a:gd name="connsiteY0" fmla="*/ 8811987 h 18930718"/>
                  <a:gd name="connsiteX1" fmla="*/ 128742 w 22406432"/>
                  <a:gd name="connsiteY1" fmla="*/ 3681254 h 18930718"/>
                  <a:gd name="connsiteX2" fmla="*/ 128336 w 22406432"/>
                  <a:gd name="connsiteY2" fmla="*/ 3680848 h 18930718"/>
                  <a:gd name="connsiteX3" fmla="*/ 9526961 w 22406432"/>
                  <a:gd name="connsiteY3" fmla="*/ 2860 h 18930718"/>
                  <a:gd name="connsiteX4" fmla="*/ 18871540 w 22406432"/>
                  <a:gd name="connsiteY4" fmla="*/ 2230946 h 18930718"/>
                  <a:gd name="connsiteX5" fmla="*/ 19687098 w 22406432"/>
                  <a:gd name="connsiteY5" fmla="*/ 6761076 h 18930718"/>
                  <a:gd name="connsiteX6" fmla="*/ 20637568 w 22406432"/>
                  <a:gd name="connsiteY6" fmla="*/ 11886120 h 18930718"/>
                  <a:gd name="connsiteX7" fmla="*/ 22091512 w 22406432"/>
                  <a:gd name="connsiteY7" fmla="*/ 17018480 h 18930718"/>
                  <a:gd name="connsiteX8" fmla="*/ 22091512 w 22406432"/>
                  <a:gd name="connsiteY8" fmla="*/ 17018480 h 18930718"/>
                  <a:gd name="connsiteX9" fmla="*/ 16719476 w 22406432"/>
                  <a:gd name="connsiteY9" fmla="*/ 18752022 h 18930718"/>
                  <a:gd name="connsiteX0" fmla="*/ 406 w 22278096"/>
                  <a:gd name="connsiteY0" fmla="*/ 3681254 h 18930718"/>
                  <a:gd name="connsiteX1" fmla="*/ 0 w 22278096"/>
                  <a:gd name="connsiteY1" fmla="*/ 3680848 h 18930718"/>
                  <a:gd name="connsiteX2" fmla="*/ 9398625 w 22278096"/>
                  <a:gd name="connsiteY2" fmla="*/ 2860 h 18930718"/>
                  <a:gd name="connsiteX3" fmla="*/ 18743204 w 22278096"/>
                  <a:gd name="connsiteY3" fmla="*/ 2230946 h 18930718"/>
                  <a:gd name="connsiteX4" fmla="*/ 19558762 w 22278096"/>
                  <a:gd name="connsiteY4" fmla="*/ 6761076 h 18930718"/>
                  <a:gd name="connsiteX5" fmla="*/ 20509232 w 22278096"/>
                  <a:gd name="connsiteY5" fmla="*/ 11886120 h 18930718"/>
                  <a:gd name="connsiteX6" fmla="*/ 21963176 w 22278096"/>
                  <a:gd name="connsiteY6" fmla="*/ 17018480 h 18930718"/>
                  <a:gd name="connsiteX7" fmla="*/ 21963176 w 22278096"/>
                  <a:gd name="connsiteY7" fmla="*/ 17018480 h 18930718"/>
                  <a:gd name="connsiteX8" fmla="*/ 16591140 w 22278096"/>
                  <a:gd name="connsiteY8" fmla="*/ 18752022 h 18930718"/>
                  <a:gd name="connsiteX0" fmla="*/ 0 w 22277690"/>
                  <a:gd name="connsiteY0" fmla="*/ 3678393 h 18927857"/>
                  <a:gd name="connsiteX1" fmla="*/ 9398219 w 22277690"/>
                  <a:gd name="connsiteY1" fmla="*/ -1 h 18927857"/>
                  <a:gd name="connsiteX2" fmla="*/ 18742798 w 22277690"/>
                  <a:gd name="connsiteY2" fmla="*/ 2228085 h 18927857"/>
                  <a:gd name="connsiteX3" fmla="*/ 19558356 w 22277690"/>
                  <a:gd name="connsiteY3" fmla="*/ 6758215 h 18927857"/>
                  <a:gd name="connsiteX4" fmla="*/ 20508826 w 22277690"/>
                  <a:gd name="connsiteY4" fmla="*/ 11883259 h 18927857"/>
                  <a:gd name="connsiteX5" fmla="*/ 21962770 w 22277690"/>
                  <a:gd name="connsiteY5" fmla="*/ 17015619 h 18927857"/>
                  <a:gd name="connsiteX6" fmla="*/ 21962770 w 22277690"/>
                  <a:gd name="connsiteY6" fmla="*/ 17015619 h 18927857"/>
                  <a:gd name="connsiteX7" fmla="*/ 16590734 w 22277690"/>
                  <a:gd name="connsiteY7" fmla="*/ 18749161 h 18927857"/>
                  <a:gd name="connsiteX0" fmla="*/ 1 w 12879472"/>
                  <a:gd name="connsiteY0" fmla="*/ -1 h 18927857"/>
                  <a:gd name="connsiteX1" fmla="*/ 9344580 w 12879472"/>
                  <a:gd name="connsiteY1" fmla="*/ 2228085 h 18927857"/>
                  <a:gd name="connsiteX2" fmla="*/ 10160138 w 12879472"/>
                  <a:gd name="connsiteY2" fmla="*/ 6758215 h 18927857"/>
                  <a:gd name="connsiteX3" fmla="*/ 11110608 w 12879472"/>
                  <a:gd name="connsiteY3" fmla="*/ 11883259 h 18927857"/>
                  <a:gd name="connsiteX4" fmla="*/ 12564552 w 12879472"/>
                  <a:gd name="connsiteY4" fmla="*/ 17015619 h 18927857"/>
                  <a:gd name="connsiteX5" fmla="*/ 12564552 w 12879472"/>
                  <a:gd name="connsiteY5" fmla="*/ 17015619 h 18927857"/>
                  <a:gd name="connsiteX6" fmla="*/ 7192516 w 12879472"/>
                  <a:gd name="connsiteY6" fmla="*/ 18749161 h 18927857"/>
                  <a:gd name="connsiteX0" fmla="*/ 1 w 12879472"/>
                  <a:gd name="connsiteY0" fmla="*/ -1 h 18927857"/>
                  <a:gd name="connsiteX1" fmla="*/ 7657464 w 12879472"/>
                  <a:gd name="connsiteY1" fmla="*/ 1184888 h 18927857"/>
                  <a:gd name="connsiteX2" fmla="*/ 9344580 w 12879472"/>
                  <a:gd name="connsiteY2" fmla="*/ 2228085 h 18927857"/>
                  <a:gd name="connsiteX3" fmla="*/ 10160138 w 12879472"/>
                  <a:gd name="connsiteY3" fmla="*/ 6758215 h 18927857"/>
                  <a:gd name="connsiteX4" fmla="*/ 11110608 w 12879472"/>
                  <a:gd name="connsiteY4" fmla="*/ 11883259 h 18927857"/>
                  <a:gd name="connsiteX5" fmla="*/ 12564552 w 12879472"/>
                  <a:gd name="connsiteY5" fmla="*/ 17015619 h 18927857"/>
                  <a:gd name="connsiteX6" fmla="*/ 12564552 w 12879472"/>
                  <a:gd name="connsiteY6" fmla="*/ 17015619 h 18927857"/>
                  <a:gd name="connsiteX7" fmla="*/ 7192516 w 12879472"/>
                  <a:gd name="connsiteY7" fmla="*/ 18749161 h 18927857"/>
                  <a:gd name="connsiteX0" fmla="*/ 464949 w 5686957"/>
                  <a:gd name="connsiteY0" fmla="*/ 0 h 17742969"/>
                  <a:gd name="connsiteX1" fmla="*/ 2152065 w 5686957"/>
                  <a:gd name="connsiteY1" fmla="*/ 1043197 h 17742969"/>
                  <a:gd name="connsiteX2" fmla="*/ 2967623 w 5686957"/>
                  <a:gd name="connsiteY2" fmla="*/ 5573327 h 17742969"/>
                  <a:gd name="connsiteX3" fmla="*/ 3918093 w 5686957"/>
                  <a:gd name="connsiteY3" fmla="*/ 10698371 h 17742969"/>
                  <a:gd name="connsiteX4" fmla="*/ 5372037 w 5686957"/>
                  <a:gd name="connsiteY4" fmla="*/ 15830731 h 17742969"/>
                  <a:gd name="connsiteX5" fmla="*/ 5372037 w 5686957"/>
                  <a:gd name="connsiteY5" fmla="*/ 15830731 h 17742969"/>
                  <a:gd name="connsiteX6" fmla="*/ 1 w 5686957"/>
                  <a:gd name="connsiteY6" fmla="*/ 17564273 h 17742969"/>
                  <a:gd name="connsiteX0" fmla="*/ 464949 w 5686957"/>
                  <a:gd name="connsiteY0" fmla="*/ 0 h 17742969"/>
                  <a:gd name="connsiteX1" fmla="*/ 2152065 w 5686957"/>
                  <a:gd name="connsiteY1" fmla="*/ 1043197 h 17742969"/>
                  <a:gd name="connsiteX2" fmla="*/ 2967623 w 5686957"/>
                  <a:gd name="connsiteY2" fmla="*/ 5573327 h 17742969"/>
                  <a:gd name="connsiteX3" fmla="*/ 3918093 w 5686957"/>
                  <a:gd name="connsiteY3" fmla="*/ 10698371 h 17742969"/>
                  <a:gd name="connsiteX4" fmla="*/ 5372037 w 5686957"/>
                  <a:gd name="connsiteY4" fmla="*/ 15830731 h 17742969"/>
                  <a:gd name="connsiteX5" fmla="*/ 5372037 w 5686957"/>
                  <a:gd name="connsiteY5" fmla="*/ 15830731 h 17742969"/>
                  <a:gd name="connsiteX6" fmla="*/ 1 w 5686957"/>
                  <a:gd name="connsiteY6" fmla="*/ 17564273 h 17742969"/>
                  <a:gd name="connsiteX0" fmla="*/ 464949 w 5686957"/>
                  <a:gd name="connsiteY0" fmla="*/ 0 h 17742969"/>
                  <a:gd name="connsiteX1" fmla="*/ 2152065 w 5686957"/>
                  <a:gd name="connsiteY1" fmla="*/ 1043197 h 17742969"/>
                  <a:gd name="connsiteX2" fmla="*/ 2967623 w 5686957"/>
                  <a:gd name="connsiteY2" fmla="*/ 5573327 h 17742969"/>
                  <a:gd name="connsiteX3" fmla="*/ 3918093 w 5686957"/>
                  <a:gd name="connsiteY3" fmla="*/ 10698371 h 17742969"/>
                  <a:gd name="connsiteX4" fmla="*/ 5372037 w 5686957"/>
                  <a:gd name="connsiteY4" fmla="*/ 15830731 h 17742969"/>
                  <a:gd name="connsiteX5" fmla="*/ 5372037 w 5686957"/>
                  <a:gd name="connsiteY5" fmla="*/ 15830731 h 17742969"/>
                  <a:gd name="connsiteX6" fmla="*/ 1 w 5686957"/>
                  <a:gd name="connsiteY6" fmla="*/ 17564273 h 17742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86957" h="17742969">
                    <a:moveTo>
                      <a:pt x="464949" y="0"/>
                    </a:moveTo>
                    <a:cubicBezTo>
                      <a:pt x="1104794" y="287531"/>
                      <a:pt x="1603978" y="617222"/>
                      <a:pt x="2152065" y="1043197"/>
                    </a:cubicBezTo>
                    <a:cubicBezTo>
                      <a:pt x="3773251" y="2303188"/>
                      <a:pt x="3174867" y="4529788"/>
                      <a:pt x="2967623" y="5573327"/>
                    </a:cubicBezTo>
                    <a:cubicBezTo>
                      <a:pt x="2776231" y="6647343"/>
                      <a:pt x="1749367" y="8841700"/>
                      <a:pt x="3918093" y="10698371"/>
                    </a:cubicBezTo>
                    <a:cubicBezTo>
                      <a:pt x="5294829" y="12146648"/>
                      <a:pt x="6196129" y="14164644"/>
                      <a:pt x="5372037" y="15830731"/>
                    </a:cubicBezTo>
                    <a:lnTo>
                      <a:pt x="5372037" y="15830731"/>
                    </a:lnTo>
                    <a:cubicBezTo>
                      <a:pt x="4402469" y="17642701"/>
                      <a:pt x="2386535" y="18025901"/>
                      <a:pt x="1" y="17564273"/>
                    </a:cubicBezTo>
                  </a:path>
                </a:pathLst>
              </a:custGeom>
              <a:noFill/>
              <a:ln w="19050" cap="flat">
                <a:solidFill>
                  <a:srgbClr val="FED7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7DECEB18-CBAA-641C-3859-B9F58407509F}"/>
                  </a:ext>
                </a:extLst>
              </p:cNvPr>
              <p:cNvSpPr/>
              <p:nvPr/>
            </p:nvSpPr>
            <p:spPr>
              <a:xfrm rot="4500000">
                <a:off x="2022282" y="-3691107"/>
                <a:ext cx="5426599" cy="16136628"/>
              </a:xfrm>
              <a:custGeom>
                <a:avLst/>
                <a:gdLst>
                  <a:gd name="connsiteX0" fmla="*/ 139014 w 21550876"/>
                  <a:gd name="connsiteY0" fmla="*/ 3751895 h 18331748"/>
                  <a:gd name="connsiteX1" fmla="*/ 9245063 w 21550876"/>
                  <a:gd name="connsiteY1" fmla="*/ 1575 h 18331748"/>
                  <a:gd name="connsiteX2" fmla="*/ 18188568 w 21550876"/>
                  <a:gd name="connsiteY2" fmla="*/ 2195120 h 18331748"/>
                  <a:gd name="connsiteX3" fmla="*/ 19067518 w 21550876"/>
                  <a:gd name="connsiteY3" fmla="*/ 6496061 h 18331748"/>
                  <a:gd name="connsiteX4" fmla="*/ 19994418 w 21550876"/>
                  <a:gd name="connsiteY4" fmla="*/ 11407765 h 18331748"/>
                  <a:gd name="connsiteX5" fmla="*/ 21216740 w 21550876"/>
                  <a:gd name="connsiteY5" fmla="*/ 16434063 h 18331748"/>
                  <a:gd name="connsiteX6" fmla="*/ 21216740 w 21550876"/>
                  <a:gd name="connsiteY6" fmla="*/ 16434063 h 18331748"/>
                  <a:gd name="connsiteX7" fmla="*/ 16124276 w 21550876"/>
                  <a:gd name="connsiteY7" fmla="*/ 18206616 h 18331748"/>
                  <a:gd name="connsiteX8" fmla="*/ 14860100 w 21550876"/>
                  <a:gd name="connsiteY8" fmla="*/ 17973770 h 18331748"/>
                  <a:gd name="connsiteX9" fmla="*/ 8391307 w 21550876"/>
                  <a:gd name="connsiteY9" fmla="*/ 15252360 h 18331748"/>
                  <a:gd name="connsiteX10" fmla="*/ 4500847 w 21550876"/>
                  <a:gd name="connsiteY10" fmla="*/ 12513477 h 18331748"/>
                  <a:gd name="connsiteX11" fmla="*/ 1484055 w 21550876"/>
                  <a:gd name="connsiteY11" fmla="*/ 8766409 h 18331748"/>
                  <a:gd name="connsiteX12" fmla="*/ 138201 w 21550876"/>
                  <a:gd name="connsiteY12" fmla="*/ 3751895 h 18331748"/>
                  <a:gd name="connsiteX0" fmla="*/ 14860100 w 21550876"/>
                  <a:gd name="connsiteY0" fmla="*/ 17973770 h 18331748"/>
                  <a:gd name="connsiteX1" fmla="*/ 8391307 w 21550876"/>
                  <a:gd name="connsiteY1" fmla="*/ 15252360 h 18331748"/>
                  <a:gd name="connsiteX2" fmla="*/ 4500847 w 21550876"/>
                  <a:gd name="connsiteY2" fmla="*/ 12513477 h 18331748"/>
                  <a:gd name="connsiteX3" fmla="*/ 1484055 w 21550876"/>
                  <a:gd name="connsiteY3" fmla="*/ 8766409 h 18331748"/>
                  <a:gd name="connsiteX4" fmla="*/ 138201 w 21550876"/>
                  <a:gd name="connsiteY4" fmla="*/ 3751895 h 18331748"/>
                  <a:gd name="connsiteX5" fmla="*/ 139014 w 21550876"/>
                  <a:gd name="connsiteY5" fmla="*/ 3751895 h 18331748"/>
                  <a:gd name="connsiteX6" fmla="*/ 9245063 w 21550876"/>
                  <a:gd name="connsiteY6" fmla="*/ 1575 h 18331748"/>
                  <a:gd name="connsiteX7" fmla="*/ 18188568 w 21550876"/>
                  <a:gd name="connsiteY7" fmla="*/ 2195120 h 18331748"/>
                  <a:gd name="connsiteX8" fmla="*/ 19067518 w 21550876"/>
                  <a:gd name="connsiteY8" fmla="*/ 6496061 h 18331748"/>
                  <a:gd name="connsiteX9" fmla="*/ 19994418 w 21550876"/>
                  <a:gd name="connsiteY9" fmla="*/ 11407765 h 18331748"/>
                  <a:gd name="connsiteX10" fmla="*/ 21216740 w 21550876"/>
                  <a:gd name="connsiteY10" fmla="*/ 16434063 h 18331748"/>
                  <a:gd name="connsiteX11" fmla="*/ 21216740 w 21550876"/>
                  <a:gd name="connsiteY11" fmla="*/ 16434063 h 18331748"/>
                  <a:gd name="connsiteX12" fmla="*/ 16124276 w 21550876"/>
                  <a:gd name="connsiteY12" fmla="*/ 18206616 h 18331748"/>
                  <a:gd name="connsiteX13" fmla="*/ 15068716 w 21550876"/>
                  <a:gd name="connsiteY13" fmla="*/ 18182386 h 18331748"/>
                  <a:gd name="connsiteX0" fmla="*/ 14860100 w 21550876"/>
                  <a:gd name="connsiteY0" fmla="*/ 17973770 h 18331748"/>
                  <a:gd name="connsiteX1" fmla="*/ 8391307 w 21550876"/>
                  <a:gd name="connsiteY1" fmla="*/ 15252360 h 18331748"/>
                  <a:gd name="connsiteX2" fmla="*/ 4500847 w 21550876"/>
                  <a:gd name="connsiteY2" fmla="*/ 12513477 h 18331748"/>
                  <a:gd name="connsiteX3" fmla="*/ 1484055 w 21550876"/>
                  <a:gd name="connsiteY3" fmla="*/ 8766409 h 18331748"/>
                  <a:gd name="connsiteX4" fmla="*/ 138201 w 21550876"/>
                  <a:gd name="connsiteY4" fmla="*/ 3751895 h 18331748"/>
                  <a:gd name="connsiteX5" fmla="*/ 139014 w 21550876"/>
                  <a:gd name="connsiteY5" fmla="*/ 3751895 h 18331748"/>
                  <a:gd name="connsiteX6" fmla="*/ 9245063 w 21550876"/>
                  <a:gd name="connsiteY6" fmla="*/ 1575 h 18331748"/>
                  <a:gd name="connsiteX7" fmla="*/ 18188568 w 21550876"/>
                  <a:gd name="connsiteY7" fmla="*/ 2195120 h 18331748"/>
                  <a:gd name="connsiteX8" fmla="*/ 19067518 w 21550876"/>
                  <a:gd name="connsiteY8" fmla="*/ 6496061 h 18331748"/>
                  <a:gd name="connsiteX9" fmla="*/ 19994418 w 21550876"/>
                  <a:gd name="connsiteY9" fmla="*/ 11407765 h 18331748"/>
                  <a:gd name="connsiteX10" fmla="*/ 21216740 w 21550876"/>
                  <a:gd name="connsiteY10" fmla="*/ 16434063 h 18331748"/>
                  <a:gd name="connsiteX11" fmla="*/ 21216740 w 21550876"/>
                  <a:gd name="connsiteY11" fmla="*/ 16434063 h 18331748"/>
                  <a:gd name="connsiteX12" fmla="*/ 16124276 w 21550876"/>
                  <a:gd name="connsiteY12" fmla="*/ 18206616 h 18331748"/>
                  <a:gd name="connsiteX0" fmla="*/ 8391307 w 21550876"/>
                  <a:gd name="connsiteY0" fmla="*/ 15252360 h 18331748"/>
                  <a:gd name="connsiteX1" fmla="*/ 4500847 w 21550876"/>
                  <a:gd name="connsiteY1" fmla="*/ 12513477 h 18331748"/>
                  <a:gd name="connsiteX2" fmla="*/ 1484055 w 21550876"/>
                  <a:gd name="connsiteY2" fmla="*/ 8766409 h 18331748"/>
                  <a:gd name="connsiteX3" fmla="*/ 138201 w 21550876"/>
                  <a:gd name="connsiteY3" fmla="*/ 3751895 h 18331748"/>
                  <a:gd name="connsiteX4" fmla="*/ 139014 w 21550876"/>
                  <a:gd name="connsiteY4" fmla="*/ 3751895 h 18331748"/>
                  <a:gd name="connsiteX5" fmla="*/ 9245063 w 21550876"/>
                  <a:gd name="connsiteY5" fmla="*/ 1575 h 18331748"/>
                  <a:gd name="connsiteX6" fmla="*/ 18188568 w 21550876"/>
                  <a:gd name="connsiteY6" fmla="*/ 2195120 h 18331748"/>
                  <a:gd name="connsiteX7" fmla="*/ 19067518 w 21550876"/>
                  <a:gd name="connsiteY7" fmla="*/ 6496061 h 18331748"/>
                  <a:gd name="connsiteX8" fmla="*/ 19994418 w 21550876"/>
                  <a:gd name="connsiteY8" fmla="*/ 11407765 h 18331748"/>
                  <a:gd name="connsiteX9" fmla="*/ 21216740 w 21550876"/>
                  <a:gd name="connsiteY9" fmla="*/ 16434063 h 18331748"/>
                  <a:gd name="connsiteX10" fmla="*/ 21216740 w 21550876"/>
                  <a:gd name="connsiteY10" fmla="*/ 16434063 h 18331748"/>
                  <a:gd name="connsiteX11" fmla="*/ 16124276 w 21550876"/>
                  <a:gd name="connsiteY11" fmla="*/ 18206616 h 18331748"/>
                  <a:gd name="connsiteX0" fmla="*/ 4500847 w 21550876"/>
                  <a:gd name="connsiteY0" fmla="*/ 12513477 h 18331748"/>
                  <a:gd name="connsiteX1" fmla="*/ 1484055 w 21550876"/>
                  <a:gd name="connsiteY1" fmla="*/ 8766409 h 18331748"/>
                  <a:gd name="connsiteX2" fmla="*/ 138201 w 21550876"/>
                  <a:gd name="connsiteY2" fmla="*/ 3751895 h 18331748"/>
                  <a:gd name="connsiteX3" fmla="*/ 139014 w 21550876"/>
                  <a:gd name="connsiteY3" fmla="*/ 3751895 h 18331748"/>
                  <a:gd name="connsiteX4" fmla="*/ 9245063 w 21550876"/>
                  <a:gd name="connsiteY4" fmla="*/ 1575 h 18331748"/>
                  <a:gd name="connsiteX5" fmla="*/ 18188568 w 21550876"/>
                  <a:gd name="connsiteY5" fmla="*/ 2195120 h 18331748"/>
                  <a:gd name="connsiteX6" fmla="*/ 19067518 w 21550876"/>
                  <a:gd name="connsiteY6" fmla="*/ 6496061 h 18331748"/>
                  <a:gd name="connsiteX7" fmla="*/ 19994418 w 21550876"/>
                  <a:gd name="connsiteY7" fmla="*/ 11407765 h 18331748"/>
                  <a:gd name="connsiteX8" fmla="*/ 21216740 w 21550876"/>
                  <a:gd name="connsiteY8" fmla="*/ 16434063 h 18331748"/>
                  <a:gd name="connsiteX9" fmla="*/ 21216740 w 21550876"/>
                  <a:gd name="connsiteY9" fmla="*/ 16434063 h 18331748"/>
                  <a:gd name="connsiteX10" fmla="*/ 16124276 w 21550876"/>
                  <a:gd name="connsiteY10" fmla="*/ 18206616 h 18331748"/>
                  <a:gd name="connsiteX0" fmla="*/ 1484055 w 21550876"/>
                  <a:gd name="connsiteY0" fmla="*/ 8766409 h 18331748"/>
                  <a:gd name="connsiteX1" fmla="*/ 138201 w 21550876"/>
                  <a:gd name="connsiteY1" fmla="*/ 3751895 h 18331748"/>
                  <a:gd name="connsiteX2" fmla="*/ 139014 w 21550876"/>
                  <a:gd name="connsiteY2" fmla="*/ 3751895 h 18331748"/>
                  <a:gd name="connsiteX3" fmla="*/ 9245063 w 21550876"/>
                  <a:gd name="connsiteY3" fmla="*/ 1575 h 18331748"/>
                  <a:gd name="connsiteX4" fmla="*/ 18188568 w 21550876"/>
                  <a:gd name="connsiteY4" fmla="*/ 2195120 h 18331748"/>
                  <a:gd name="connsiteX5" fmla="*/ 19067518 w 21550876"/>
                  <a:gd name="connsiteY5" fmla="*/ 6496061 h 18331748"/>
                  <a:gd name="connsiteX6" fmla="*/ 19994418 w 21550876"/>
                  <a:gd name="connsiteY6" fmla="*/ 11407765 h 18331748"/>
                  <a:gd name="connsiteX7" fmla="*/ 21216740 w 21550876"/>
                  <a:gd name="connsiteY7" fmla="*/ 16434063 h 18331748"/>
                  <a:gd name="connsiteX8" fmla="*/ 21216740 w 21550876"/>
                  <a:gd name="connsiteY8" fmla="*/ 16434063 h 18331748"/>
                  <a:gd name="connsiteX9" fmla="*/ 16124276 w 21550876"/>
                  <a:gd name="connsiteY9" fmla="*/ 18206616 h 18331748"/>
                  <a:gd name="connsiteX0" fmla="*/ 0 w 21412675"/>
                  <a:gd name="connsiteY0" fmla="*/ 3751895 h 18331748"/>
                  <a:gd name="connsiteX1" fmla="*/ 813 w 21412675"/>
                  <a:gd name="connsiteY1" fmla="*/ 3751895 h 18331748"/>
                  <a:gd name="connsiteX2" fmla="*/ 9106862 w 21412675"/>
                  <a:gd name="connsiteY2" fmla="*/ 1575 h 18331748"/>
                  <a:gd name="connsiteX3" fmla="*/ 18050367 w 21412675"/>
                  <a:gd name="connsiteY3" fmla="*/ 2195120 h 18331748"/>
                  <a:gd name="connsiteX4" fmla="*/ 18929317 w 21412675"/>
                  <a:gd name="connsiteY4" fmla="*/ 6496061 h 18331748"/>
                  <a:gd name="connsiteX5" fmla="*/ 19856217 w 21412675"/>
                  <a:gd name="connsiteY5" fmla="*/ 11407765 h 18331748"/>
                  <a:gd name="connsiteX6" fmla="*/ 21078539 w 21412675"/>
                  <a:gd name="connsiteY6" fmla="*/ 16434063 h 18331748"/>
                  <a:gd name="connsiteX7" fmla="*/ 21078539 w 21412675"/>
                  <a:gd name="connsiteY7" fmla="*/ 16434063 h 18331748"/>
                  <a:gd name="connsiteX8" fmla="*/ 15986075 w 21412675"/>
                  <a:gd name="connsiteY8" fmla="*/ 18206616 h 18331748"/>
                  <a:gd name="connsiteX0" fmla="*/ 0 w 21412675"/>
                  <a:gd name="connsiteY0" fmla="*/ 3750321 h 18330174"/>
                  <a:gd name="connsiteX1" fmla="*/ 9106862 w 21412675"/>
                  <a:gd name="connsiteY1" fmla="*/ 1 h 18330174"/>
                  <a:gd name="connsiteX2" fmla="*/ 18050367 w 21412675"/>
                  <a:gd name="connsiteY2" fmla="*/ 2193546 h 18330174"/>
                  <a:gd name="connsiteX3" fmla="*/ 18929317 w 21412675"/>
                  <a:gd name="connsiteY3" fmla="*/ 6494487 h 18330174"/>
                  <a:gd name="connsiteX4" fmla="*/ 19856217 w 21412675"/>
                  <a:gd name="connsiteY4" fmla="*/ 11406191 h 18330174"/>
                  <a:gd name="connsiteX5" fmla="*/ 21078539 w 21412675"/>
                  <a:gd name="connsiteY5" fmla="*/ 16432489 h 18330174"/>
                  <a:gd name="connsiteX6" fmla="*/ 21078539 w 21412675"/>
                  <a:gd name="connsiteY6" fmla="*/ 16432489 h 18330174"/>
                  <a:gd name="connsiteX7" fmla="*/ 15986075 w 21412675"/>
                  <a:gd name="connsiteY7" fmla="*/ 18205042 h 18330174"/>
                  <a:gd name="connsiteX0" fmla="*/ 0 w 12305813"/>
                  <a:gd name="connsiteY0" fmla="*/ 1 h 18330174"/>
                  <a:gd name="connsiteX1" fmla="*/ 8943505 w 12305813"/>
                  <a:gd name="connsiteY1" fmla="*/ 2193546 h 18330174"/>
                  <a:gd name="connsiteX2" fmla="*/ 9822455 w 12305813"/>
                  <a:gd name="connsiteY2" fmla="*/ 6494487 h 18330174"/>
                  <a:gd name="connsiteX3" fmla="*/ 10749355 w 12305813"/>
                  <a:gd name="connsiteY3" fmla="*/ 11406191 h 18330174"/>
                  <a:gd name="connsiteX4" fmla="*/ 11971677 w 12305813"/>
                  <a:gd name="connsiteY4" fmla="*/ 16432489 h 18330174"/>
                  <a:gd name="connsiteX5" fmla="*/ 11971677 w 12305813"/>
                  <a:gd name="connsiteY5" fmla="*/ 16432489 h 18330174"/>
                  <a:gd name="connsiteX6" fmla="*/ 6879213 w 12305813"/>
                  <a:gd name="connsiteY6" fmla="*/ 18205042 h 18330174"/>
                  <a:gd name="connsiteX0" fmla="*/ 2064291 w 5426599"/>
                  <a:gd name="connsiteY0" fmla="*/ -1 h 16136627"/>
                  <a:gd name="connsiteX1" fmla="*/ 2943241 w 5426599"/>
                  <a:gd name="connsiteY1" fmla="*/ 4300940 h 16136627"/>
                  <a:gd name="connsiteX2" fmla="*/ 3870141 w 5426599"/>
                  <a:gd name="connsiteY2" fmla="*/ 9212644 h 16136627"/>
                  <a:gd name="connsiteX3" fmla="*/ 5092463 w 5426599"/>
                  <a:gd name="connsiteY3" fmla="*/ 14238942 h 16136627"/>
                  <a:gd name="connsiteX4" fmla="*/ 5092463 w 5426599"/>
                  <a:gd name="connsiteY4" fmla="*/ 14238942 h 16136627"/>
                  <a:gd name="connsiteX5" fmla="*/ -1 w 5426599"/>
                  <a:gd name="connsiteY5" fmla="*/ 16011495 h 16136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26599" h="16136627">
                    <a:moveTo>
                      <a:pt x="2064291" y="-1"/>
                    </a:moveTo>
                    <a:cubicBezTo>
                      <a:pt x="3560497" y="1239811"/>
                      <a:pt x="3097249" y="3283814"/>
                      <a:pt x="2943241" y="4300940"/>
                    </a:cubicBezTo>
                    <a:cubicBezTo>
                      <a:pt x="2807923" y="5354638"/>
                      <a:pt x="1897279" y="7435215"/>
                      <a:pt x="3870141" y="9212644"/>
                    </a:cubicBezTo>
                    <a:cubicBezTo>
                      <a:pt x="5126595" y="10667421"/>
                      <a:pt x="5908019" y="12624464"/>
                      <a:pt x="5092463" y="14238942"/>
                    </a:cubicBezTo>
                    <a:lnTo>
                      <a:pt x="5092463" y="14238942"/>
                    </a:lnTo>
                    <a:cubicBezTo>
                      <a:pt x="4157029" y="15967609"/>
                      <a:pt x="2252435" y="16382505"/>
                      <a:pt x="-1" y="16011495"/>
                    </a:cubicBezTo>
                  </a:path>
                </a:pathLst>
              </a:custGeom>
              <a:noFill/>
              <a:ln w="19050" cap="flat">
                <a:solidFill>
                  <a:srgbClr val="FEDC2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4C5899FA-6E04-5361-B574-2A0997ADB5FE}"/>
                  </a:ext>
                </a:extLst>
              </p:cNvPr>
              <p:cNvSpPr/>
              <p:nvPr/>
            </p:nvSpPr>
            <p:spPr>
              <a:xfrm rot="4500000">
                <a:off x="2814084" y="-4099386"/>
                <a:ext cx="5169900" cy="16611221"/>
              </a:xfrm>
              <a:custGeom>
                <a:avLst/>
                <a:gdLst>
                  <a:gd name="connsiteX0" fmla="*/ 149312 w 20699408"/>
                  <a:gd name="connsiteY0" fmla="*/ 3823355 h 17740444"/>
                  <a:gd name="connsiteX1" fmla="*/ 8963597 w 20699408"/>
                  <a:gd name="connsiteY1" fmla="*/ 702 h 17740444"/>
                  <a:gd name="connsiteX2" fmla="*/ 17506028 w 20699408"/>
                  <a:gd name="connsiteY2" fmla="*/ 2160113 h 17740444"/>
                  <a:gd name="connsiteX3" fmla="*/ 18448368 w 20699408"/>
                  <a:gd name="connsiteY3" fmla="*/ 6232272 h 17740444"/>
                  <a:gd name="connsiteX4" fmla="*/ 19351702 w 20699408"/>
                  <a:gd name="connsiteY4" fmla="*/ 10930229 h 17740444"/>
                  <a:gd name="connsiteX5" fmla="*/ 20342804 w 20699408"/>
                  <a:gd name="connsiteY5" fmla="*/ 15850873 h 17740444"/>
                  <a:gd name="connsiteX6" fmla="*/ 20342804 w 20699408"/>
                  <a:gd name="connsiteY6" fmla="*/ 15850873 h 17740444"/>
                  <a:gd name="connsiteX7" fmla="*/ 15529509 w 20699408"/>
                  <a:gd name="connsiteY7" fmla="*/ 17662436 h 17740444"/>
                  <a:gd name="connsiteX8" fmla="*/ 14323849 w 20699408"/>
                  <a:gd name="connsiteY8" fmla="*/ 17485264 h 17740444"/>
                  <a:gd name="connsiteX9" fmla="*/ 8122438 w 20699408"/>
                  <a:gd name="connsiteY9" fmla="*/ 15095852 h 17740444"/>
                  <a:gd name="connsiteX10" fmla="*/ 4249452 w 20699408"/>
                  <a:gd name="connsiteY10" fmla="*/ 12454901 h 17740444"/>
                  <a:gd name="connsiteX11" fmla="*/ 1328966 w 20699408"/>
                  <a:gd name="connsiteY11" fmla="*/ 8722055 h 17740444"/>
                  <a:gd name="connsiteX12" fmla="*/ 149312 w 20699408"/>
                  <a:gd name="connsiteY12" fmla="*/ 3823355 h 17740444"/>
                  <a:gd name="connsiteX0" fmla="*/ 14323849 w 20699408"/>
                  <a:gd name="connsiteY0" fmla="*/ 17485264 h 17740444"/>
                  <a:gd name="connsiteX1" fmla="*/ 8122438 w 20699408"/>
                  <a:gd name="connsiteY1" fmla="*/ 15095852 h 17740444"/>
                  <a:gd name="connsiteX2" fmla="*/ 4249452 w 20699408"/>
                  <a:gd name="connsiteY2" fmla="*/ 12454901 h 17740444"/>
                  <a:gd name="connsiteX3" fmla="*/ 1328966 w 20699408"/>
                  <a:gd name="connsiteY3" fmla="*/ 8722055 h 17740444"/>
                  <a:gd name="connsiteX4" fmla="*/ 149312 w 20699408"/>
                  <a:gd name="connsiteY4" fmla="*/ 3823355 h 17740444"/>
                  <a:gd name="connsiteX5" fmla="*/ 8963597 w 20699408"/>
                  <a:gd name="connsiteY5" fmla="*/ 702 h 17740444"/>
                  <a:gd name="connsiteX6" fmla="*/ 17506028 w 20699408"/>
                  <a:gd name="connsiteY6" fmla="*/ 2160113 h 17740444"/>
                  <a:gd name="connsiteX7" fmla="*/ 18448368 w 20699408"/>
                  <a:gd name="connsiteY7" fmla="*/ 6232272 h 17740444"/>
                  <a:gd name="connsiteX8" fmla="*/ 19351702 w 20699408"/>
                  <a:gd name="connsiteY8" fmla="*/ 10930229 h 17740444"/>
                  <a:gd name="connsiteX9" fmla="*/ 20342804 w 20699408"/>
                  <a:gd name="connsiteY9" fmla="*/ 15850873 h 17740444"/>
                  <a:gd name="connsiteX10" fmla="*/ 20342804 w 20699408"/>
                  <a:gd name="connsiteY10" fmla="*/ 15850873 h 17740444"/>
                  <a:gd name="connsiteX11" fmla="*/ 15529509 w 20699408"/>
                  <a:gd name="connsiteY11" fmla="*/ 17662436 h 17740444"/>
                  <a:gd name="connsiteX12" fmla="*/ 14532465 w 20699408"/>
                  <a:gd name="connsiteY12" fmla="*/ 17693880 h 17740444"/>
                  <a:gd name="connsiteX0" fmla="*/ 14323849 w 20699408"/>
                  <a:gd name="connsiteY0" fmla="*/ 17485264 h 17740444"/>
                  <a:gd name="connsiteX1" fmla="*/ 8122438 w 20699408"/>
                  <a:gd name="connsiteY1" fmla="*/ 15095852 h 17740444"/>
                  <a:gd name="connsiteX2" fmla="*/ 4249452 w 20699408"/>
                  <a:gd name="connsiteY2" fmla="*/ 12454901 h 17740444"/>
                  <a:gd name="connsiteX3" fmla="*/ 1328966 w 20699408"/>
                  <a:gd name="connsiteY3" fmla="*/ 8722055 h 17740444"/>
                  <a:gd name="connsiteX4" fmla="*/ 149312 w 20699408"/>
                  <a:gd name="connsiteY4" fmla="*/ 3823355 h 17740444"/>
                  <a:gd name="connsiteX5" fmla="*/ 8963597 w 20699408"/>
                  <a:gd name="connsiteY5" fmla="*/ 702 h 17740444"/>
                  <a:gd name="connsiteX6" fmla="*/ 17506028 w 20699408"/>
                  <a:gd name="connsiteY6" fmla="*/ 2160113 h 17740444"/>
                  <a:gd name="connsiteX7" fmla="*/ 18448368 w 20699408"/>
                  <a:gd name="connsiteY7" fmla="*/ 6232272 h 17740444"/>
                  <a:gd name="connsiteX8" fmla="*/ 19351702 w 20699408"/>
                  <a:gd name="connsiteY8" fmla="*/ 10930229 h 17740444"/>
                  <a:gd name="connsiteX9" fmla="*/ 20342804 w 20699408"/>
                  <a:gd name="connsiteY9" fmla="*/ 15850873 h 17740444"/>
                  <a:gd name="connsiteX10" fmla="*/ 20342804 w 20699408"/>
                  <a:gd name="connsiteY10" fmla="*/ 15850873 h 17740444"/>
                  <a:gd name="connsiteX11" fmla="*/ 15529509 w 20699408"/>
                  <a:gd name="connsiteY11" fmla="*/ 17662436 h 17740444"/>
                  <a:gd name="connsiteX0" fmla="*/ 8122438 w 20699408"/>
                  <a:gd name="connsiteY0" fmla="*/ 15095852 h 17740444"/>
                  <a:gd name="connsiteX1" fmla="*/ 4249452 w 20699408"/>
                  <a:gd name="connsiteY1" fmla="*/ 12454901 h 17740444"/>
                  <a:gd name="connsiteX2" fmla="*/ 1328966 w 20699408"/>
                  <a:gd name="connsiteY2" fmla="*/ 8722055 h 17740444"/>
                  <a:gd name="connsiteX3" fmla="*/ 149312 w 20699408"/>
                  <a:gd name="connsiteY3" fmla="*/ 3823355 h 17740444"/>
                  <a:gd name="connsiteX4" fmla="*/ 8963597 w 20699408"/>
                  <a:gd name="connsiteY4" fmla="*/ 702 h 17740444"/>
                  <a:gd name="connsiteX5" fmla="*/ 17506028 w 20699408"/>
                  <a:gd name="connsiteY5" fmla="*/ 2160113 h 17740444"/>
                  <a:gd name="connsiteX6" fmla="*/ 18448368 w 20699408"/>
                  <a:gd name="connsiteY6" fmla="*/ 6232272 h 17740444"/>
                  <a:gd name="connsiteX7" fmla="*/ 19351702 w 20699408"/>
                  <a:gd name="connsiteY7" fmla="*/ 10930229 h 17740444"/>
                  <a:gd name="connsiteX8" fmla="*/ 20342804 w 20699408"/>
                  <a:gd name="connsiteY8" fmla="*/ 15850873 h 17740444"/>
                  <a:gd name="connsiteX9" fmla="*/ 20342804 w 20699408"/>
                  <a:gd name="connsiteY9" fmla="*/ 15850873 h 17740444"/>
                  <a:gd name="connsiteX10" fmla="*/ 15529509 w 20699408"/>
                  <a:gd name="connsiteY10" fmla="*/ 17662436 h 17740444"/>
                  <a:gd name="connsiteX0" fmla="*/ 4249452 w 20699408"/>
                  <a:gd name="connsiteY0" fmla="*/ 12454901 h 17740444"/>
                  <a:gd name="connsiteX1" fmla="*/ 1328966 w 20699408"/>
                  <a:gd name="connsiteY1" fmla="*/ 8722055 h 17740444"/>
                  <a:gd name="connsiteX2" fmla="*/ 149312 w 20699408"/>
                  <a:gd name="connsiteY2" fmla="*/ 3823355 h 17740444"/>
                  <a:gd name="connsiteX3" fmla="*/ 8963597 w 20699408"/>
                  <a:gd name="connsiteY3" fmla="*/ 702 h 17740444"/>
                  <a:gd name="connsiteX4" fmla="*/ 17506028 w 20699408"/>
                  <a:gd name="connsiteY4" fmla="*/ 2160113 h 17740444"/>
                  <a:gd name="connsiteX5" fmla="*/ 18448368 w 20699408"/>
                  <a:gd name="connsiteY5" fmla="*/ 6232272 h 17740444"/>
                  <a:gd name="connsiteX6" fmla="*/ 19351702 w 20699408"/>
                  <a:gd name="connsiteY6" fmla="*/ 10930229 h 17740444"/>
                  <a:gd name="connsiteX7" fmla="*/ 20342804 w 20699408"/>
                  <a:gd name="connsiteY7" fmla="*/ 15850873 h 17740444"/>
                  <a:gd name="connsiteX8" fmla="*/ 20342804 w 20699408"/>
                  <a:gd name="connsiteY8" fmla="*/ 15850873 h 17740444"/>
                  <a:gd name="connsiteX9" fmla="*/ 15529509 w 20699408"/>
                  <a:gd name="connsiteY9" fmla="*/ 17662436 h 17740444"/>
                  <a:gd name="connsiteX0" fmla="*/ 1328966 w 20699408"/>
                  <a:gd name="connsiteY0" fmla="*/ 8722055 h 17740444"/>
                  <a:gd name="connsiteX1" fmla="*/ 149312 w 20699408"/>
                  <a:gd name="connsiteY1" fmla="*/ 3823355 h 17740444"/>
                  <a:gd name="connsiteX2" fmla="*/ 8963597 w 20699408"/>
                  <a:gd name="connsiteY2" fmla="*/ 702 h 17740444"/>
                  <a:gd name="connsiteX3" fmla="*/ 17506028 w 20699408"/>
                  <a:gd name="connsiteY3" fmla="*/ 2160113 h 17740444"/>
                  <a:gd name="connsiteX4" fmla="*/ 18448368 w 20699408"/>
                  <a:gd name="connsiteY4" fmla="*/ 6232272 h 17740444"/>
                  <a:gd name="connsiteX5" fmla="*/ 19351702 w 20699408"/>
                  <a:gd name="connsiteY5" fmla="*/ 10930229 h 17740444"/>
                  <a:gd name="connsiteX6" fmla="*/ 20342804 w 20699408"/>
                  <a:gd name="connsiteY6" fmla="*/ 15850873 h 17740444"/>
                  <a:gd name="connsiteX7" fmla="*/ 20342804 w 20699408"/>
                  <a:gd name="connsiteY7" fmla="*/ 15850873 h 17740444"/>
                  <a:gd name="connsiteX8" fmla="*/ 15529509 w 20699408"/>
                  <a:gd name="connsiteY8" fmla="*/ 17662436 h 17740444"/>
                  <a:gd name="connsiteX0" fmla="*/ 0 w 20550096"/>
                  <a:gd name="connsiteY0" fmla="*/ 3823355 h 17740444"/>
                  <a:gd name="connsiteX1" fmla="*/ 8814285 w 20550096"/>
                  <a:gd name="connsiteY1" fmla="*/ 702 h 17740444"/>
                  <a:gd name="connsiteX2" fmla="*/ 17356716 w 20550096"/>
                  <a:gd name="connsiteY2" fmla="*/ 2160113 h 17740444"/>
                  <a:gd name="connsiteX3" fmla="*/ 18299056 w 20550096"/>
                  <a:gd name="connsiteY3" fmla="*/ 6232272 h 17740444"/>
                  <a:gd name="connsiteX4" fmla="*/ 19202390 w 20550096"/>
                  <a:gd name="connsiteY4" fmla="*/ 10930229 h 17740444"/>
                  <a:gd name="connsiteX5" fmla="*/ 20193492 w 20550096"/>
                  <a:gd name="connsiteY5" fmla="*/ 15850873 h 17740444"/>
                  <a:gd name="connsiteX6" fmla="*/ 20193492 w 20550096"/>
                  <a:gd name="connsiteY6" fmla="*/ 15850873 h 17740444"/>
                  <a:gd name="connsiteX7" fmla="*/ 15380197 w 20550096"/>
                  <a:gd name="connsiteY7" fmla="*/ 17662436 h 17740444"/>
                  <a:gd name="connsiteX0" fmla="*/ 1 w 11735812"/>
                  <a:gd name="connsiteY0" fmla="*/ -1 h 17739741"/>
                  <a:gd name="connsiteX1" fmla="*/ 8542432 w 11735812"/>
                  <a:gd name="connsiteY1" fmla="*/ 2159410 h 17739741"/>
                  <a:gd name="connsiteX2" fmla="*/ 9484772 w 11735812"/>
                  <a:gd name="connsiteY2" fmla="*/ 6231569 h 17739741"/>
                  <a:gd name="connsiteX3" fmla="*/ 10388106 w 11735812"/>
                  <a:gd name="connsiteY3" fmla="*/ 10929526 h 17739741"/>
                  <a:gd name="connsiteX4" fmla="*/ 11379208 w 11735812"/>
                  <a:gd name="connsiteY4" fmla="*/ 15850170 h 17739741"/>
                  <a:gd name="connsiteX5" fmla="*/ 11379208 w 11735812"/>
                  <a:gd name="connsiteY5" fmla="*/ 15850170 h 17739741"/>
                  <a:gd name="connsiteX6" fmla="*/ 6565913 w 11735812"/>
                  <a:gd name="connsiteY6" fmla="*/ 17661733 h 17739741"/>
                  <a:gd name="connsiteX0" fmla="*/ 1 w 11735812"/>
                  <a:gd name="connsiteY0" fmla="*/ -1 h 17739741"/>
                  <a:gd name="connsiteX1" fmla="*/ 6851667 w 11735812"/>
                  <a:gd name="connsiteY1" fmla="*/ 1128521 h 17739741"/>
                  <a:gd name="connsiteX2" fmla="*/ 8542432 w 11735812"/>
                  <a:gd name="connsiteY2" fmla="*/ 2159410 h 17739741"/>
                  <a:gd name="connsiteX3" fmla="*/ 9484772 w 11735812"/>
                  <a:gd name="connsiteY3" fmla="*/ 6231569 h 17739741"/>
                  <a:gd name="connsiteX4" fmla="*/ 10388106 w 11735812"/>
                  <a:gd name="connsiteY4" fmla="*/ 10929526 h 17739741"/>
                  <a:gd name="connsiteX5" fmla="*/ 11379208 w 11735812"/>
                  <a:gd name="connsiteY5" fmla="*/ 15850170 h 17739741"/>
                  <a:gd name="connsiteX6" fmla="*/ 11379208 w 11735812"/>
                  <a:gd name="connsiteY6" fmla="*/ 15850170 h 17739741"/>
                  <a:gd name="connsiteX7" fmla="*/ 6565913 w 11735812"/>
                  <a:gd name="connsiteY7" fmla="*/ 17661733 h 17739741"/>
                  <a:gd name="connsiteX0" fmla="*/ 1 w 11735812"/>
                  <a:gd name="connsiteY0" fmla="*/ -1 h 17739741"/>
                  <a:gd name="connsiteX1" fmla="*/ 6851667 w 11735812"/>
                  <a:gd name="connsiteY1" fmla="*/ 1128521 h 17739741"/>
                  <a:gd name="connsiteX2" fmla="*/ 8542432 w 11735812"/>
                  <a:gd name="connsiteY2" fmla="*/ 2159410 h 17739741"/>
                  <a:gd name="connsiteX3" fmla="*/ 9484772 w 11735812"/>
                  <a:gd name="connsiteY3" fmla="*/ 6231569 h 17739741"/>
                  <a:gd name="connsiteX4" fmla="*/ 10388106 w 11735812"/>
                  <a:gd name="connsiteY4" fmla="*/ 10929526 h 17739741"/>
                  <a:gd name="connsiteX5" fmla="*/ 11379208 w 11735812"/>
                  <a:gd name="connsiteY5" fmla="*/ 15850170 h 17739741"/>
                  <a:gd name="connsiteX6" fmla="*/ 11379208 w 11735812"/>
                  <a:gd name="connsiteY6" fmla="*/ 15850170 h 17739741"/>
                  <a:gd name="connsiteX7" fmla="*/ 6565913 w 11735812"/>
                  <a:gd name="connsiteY7" fmla="*/ 17661733 h 17739741"/>
                  <a:gd name="connsiteX0" fmla="*/ 1 w 11735812"/>
                  <a:gd name="connsiteY0" fmla="*/ -1 h 17739741"/>
                  <a:gd name="connsiteX1" fmla="*/ 6851667 w 11735812"/>
                  <a:gd name="connsiteY1" fmla="*/ 1128521 h 17739741"/>
                  <a:gd name="connsiteX2" fmla="*/ 8542432 w 11735812"/>
                  <a:gd name="connsiteY2" fmla="*/ 2159410 h 17739741"/>
                  <a:gd name="connsiteX3" fmla="*/ 9484772 w 11735812"/>
                  <a:gd name="connsiteY3" fmla="*/ 6231569 h 17739741"/>
                  <a:gd name="connsiteX4" fmla="*/ 10388106 w 11735812"/>
                  <a:gd name="connsiteY4" fmla="*/ 10929526 h 17739741"/>
                  <a:gd name="connsiteX5" fmla="*/ 11379208 w 11735812"/>
                  <a:gd name="connsiteY5" fmla="*/ 15850170 h 17739741"/>
                  <a:gd name="connsiteX6" fmla="*/ 11379208 w 11735812"/>
                  <a:gd name="connsiteY6" fmla="*/ 15850170 h 17739741"/>
                  <a:gd name="connsiteX7" fmla="*/ 6565913 w 11735812"/>
                  <a:gd name="connsiteY7" fmla="*/ 17661733 h 17739741"/>
                  <a:gd name="connsiteX0" fmla="*/ 285755 w 5169900"/>
                  <a:gd name="connsiteY0" fmla="*/ 0 h 16611220"/>
                  <a:gd name="connsiteX1" fmla="*/ 1976520 w 5169900"/>
                  <a:gd name="connsiteY1" fmla="*/ 1030889 h 16611220"/>
                  <a:gd name="connsiteX2" fmla="*/ 2918860 w 5169900"/>
                  <a:gd name="connsiteY2" fmla="*/ 5103048 h 16611220"/>
                  <a:gd name="connsiteX3" fmla="*/ 3822194 w 5169900"/>
                  <a:gd name="connsiteY3" fmla="*/ 9801005 h 16611220"/>
                  <a:gd name="connsiteX4" fmla="*/ 4813296 w 5169900"/>
                  <a:gd name="connsiteY4" fmla="*/ 14721649 h 16611220"/>
                  <a:gd name="connsiteX5" fmla="*/ 4813296 w 5169900"/>
                  <a:gd name="connsiteY5" fmla="*/ 14721649 h 16611220"/>
                  <a:gd name="connsiteX6" fmla="*/ 1 w 5169900"/>
                  <a:gd name="connsiteY6" fmla="*/ 16533212 h 16611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69900" h="16611220">
                    <a:moveTo>
                      <a:pt x="285755" y="0"/>
                    </a:moveTo>
                    <a:cubicBezTo>
                      <a:pt x="782050" y="224094"/>
                      <a:pt x="1347606" y="470587"/>
                      <a:pt x="1976520" y="1030889"/>
                    </a:cubicBezTo>
                    <a:cubicBezTo>
                      <a:pt x="3345175" y="2250230"/>
                      <a:pt x="3019640" y="4111930"/>
                      <a:pt x="2918860" y="5103048"/>
                    </a:cubicBezTo>
                    <a:cubicBezTo>
                      <a:pt x="2839620" y="6136428"/>
                      <a:pt x="2044788" y="8103222"/>
                      <a:pt x="3822194" y="9801005"/>
                    </a:cubicBezTo>
                    <a:cubicBezTo>
                      <a:pt x="4958772" y="11262284"/>
                      <a:pt x="5619916" y="13157965"/>
                      <a:pt x="4813296" y="14721649"/>
                    </a:cubicBezTo>
                    <a:lnTo>
                      <a:pt x="4813296" y="14721649"/>
                    </a:lnTo>
                    <a:cubicBezTo>
                      <a:pt x="3912404" y="16367010"/>
                      <a:pt x="2118338" y="16813604"/>
                      <a:pt x="1" y="16533212"/>
                    </a:cubicBezTo>
                  </a:path>
                </a:pathLst>
              </a:custGeom>
              <a:noFill/>
              <a:ln w="19050" cap="flat">
                <a:solidFill>
                  <a:srgbClr val="FDE11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51DFB1C7-623D-F267-2566-354D42218D5C}"/>
                  </a:ext>
                </a:extLst>
              </p:cNvPr>
              <p:cNvSpPr/>
              <p:nvPr/>
            </p:nvSpPr>
            <p:spPr>
              <a:xfrm rot="4500000">
                <a:off x="3085211" y="-3836320"/>
                <a:ext cx="4917370" cy="16026202"/>
              </a:xfrm>
              <a:custGeom>
                <a:avLst/>
                <a:gdLst>
                  <a:gd name="connsiteX0" fmla="*/ 161512 w 19854012"/>
                  <a:gd name="connsiteY0" fmla="*/ 3895177 h 17157244"/>
                  <a:gd name="connsiteX1" fmla="*/ 8683626 w 19854012"/>
                  <a:gd name="connsiteY1" fmla="*/ 192 h 17157244"/>
                  <a:gd name="connsiteX2" fmla="*/ 16824984 w 19854012"/>
                  <a:gd name="connsiteY2" fmla="*/ 2125062 h 17157244"/>
                  <a:gd name="connsiteX3" fmla="*/ 17830716 w 19854012"/>
                  <a:gd name="connsiteY3" fmla="*/ 5968033 h 17157244"/>
                  <a:gd name="connsiteX4" fmla="*/ 18710884 w 19854012"/>
                  <a:gd name="connsiteY4" fmla="*/ 10452649 h 17157244"/>
                  <a:gd name="connsiteX5" fmla="*/ 19470364 w 19854012"/>
                  <a:gd name="connsiteY5" fmla="*/ 15267233 h 17157244"/>
                  <a:gd name="connsiteX6" fmla="*/ 19470364 w 19854012"/>
                  <a:gd name="connsiteY6" fmla="*/ 15267233 h 17157244"/>
                  <a:gd name="connsiteX7" fmla="*/ 14936642 w 19854012"/>
                  <a:gd name="connsiteY7" fmla="*/ 17117808 h 17157244"/>
                  <a:gd name="connsiteX8" fmla="*/ 13789498 w 19854012"/>
                  <a:gd name="connsiteY8" fmla="*/ 16996712 h 17157244"/>
                  <a:gd name="connsiteX9" fmla="*/ 7855471 w 19854012"/>
                  <a:gd name="connsiteY9" fmla="*/ 14939705 h 17157244"/>
                  <a:gd name="connsiteX10" fmla="*/ 3999957 w 19854012"/>
                  <a:gd name="connsiteY10" fmla="*/ 12396688 h 17157244"/>
                  <a:gd name="connsiteX11" fmla="*/ 1175778 w 19854012"/>
                  <a:gd name="connsiteY11" fmla="*/ 8678064 h 17157244"/>
                  <a:gd name="connsiteX12" fmla="*/ 161918 w 19854012"/>
                  <a:gd name="connsiteY12" fmla="*/ 3895584 h 17157244"/>
                  <a:gd name="connsiteX0" fmla="*/ 13789498 w 19854012"/>
                  <a:gd name="connsiteY0" fmla="*/ 16996712 h 17205328"/>
                  <a:gd name="connsiteX1" fmla="*/ 7855471 w 19854012"/>
                  <a:gd name="connsiteY1" fmla="*/ 14939705 h 17205328"/>
                  <a:gd name="connsiteX2" fmla="*/ 3999957 w 19854012"/>
                  <a:gd name="connsiteY2" fmla="*/ 12396688 h 17205328"/>
                  <a:gd name="connsiteX3" fmla="*/ 1175778 w 19854012"/>
                  <a:gd name="connsiteY3" fmla="*/ 8678064 h 17205328"/>
                  <a:gd name="connsiteX4" fmla="*/ 161918 w 19854012"/>
                  <a:gd name="connsiteY4" fmla="*/ 3895584 h 17205328"/>
                  <a:gd name="connsiteX5" fmla="*/ 161512 w 19854012"/>
                  <a:gd name="connsiteY5" fmla="*/ 3895177 h 17205328"/>
                  <a:gd name="connsiteX6" fmla="*/ 8683626 w 19854012"/>
                  <a:gd name="connsiteY6" fmla="*/ 192 h 17205328"/>
                  <a:gd name="connsiteX7" fmla="*/ 16824984 w 19854012"/>
                  <a:gd name="connsiteY7" fmla="*/ 2125062 h 17205328"/>
                  <a:gd name="connsiteX8" fmla="*/ 17830716 w 19854012"/>
                  <a:gd name="connsiteY8" fmla="*/ 5968033 h 17205328"/>
                  <a:gd name="connsiteX9" fmla="*/ 18710884 w 19854012"/>
                  <a:gd name="connsiteY9" fmla="*/ 10452649 h 17205328"/>
                  <a:gd name="connsiteX10" fmla="*/ 19470364 w 19854012"/>
                  <a:gd name="connsiteY10" fmla="*/ 15267233 h 17205328"/>
                  <a:gd name="connsiteX11" fmla="*/ 19470364 w 19854012"/>
                  <a:gd name="connsiteY11" fmla="*/ 15267233 h 17205328"/>
                  <a:gd name="connsiteX12" fmla="*/ 14936642 w 19854012"/>
                  <a:gd name="connsiteY12" fmla="*/ 17117808 h 17205328"/>
                  <a:gd name="connsiteX13" fmla="*/ 13998114 w 19854012"/>
                  <a:gd name="connsiteY13" fmla="*/ 17205328 h 17205328"/>
                  <a:gd name="connsiteX0" fmla="*/ 13789498 w 19854012"/>
                  <a:gd name="connsiteY0" fmla="*/ 16996712 h 17157244"/>
                  <a:gd name="connsiteX1" fmla="*/ 7855471 w 19854012"/>
                  <a:gd name="connsiteY1" fmla="*/ 14939705 h 17157244"/>
                  <a:gd name="connsiteX2" fmla="*/ 3999957 w 19854012"/>
                  <a:gd name="connsiteY2" fmla="*/ 12396688 h 17157244"/>
                  <a:gd name="connsiteX3" fmla="*/ 1175778 w 19854012"/>
                  <a:gd name="connsiteY3" fmla="*/ 8678064 h 17157244"/>
                  <a:gd name="connsiteX4" fmla="*/ 161918 w 19854012"/>
                  <a:gd name="connsiteY4" fmla="*/ 3895584 h 17157244"/>
                  <a:gd name="connsiteX5" fmla="*/ 161512 w 19854012"/>
                  <a:gd name="connsiteY5" fmla="*/ 3895177 h 17157244"/>
                  <a:gd name="connsiteX6" fmla="*/ 8683626 w 19854012"/>
                  <a:gd name="connsiteY6" fmla="*/ 192 h 17157244"/>
                  <a:gd name="connsiteX7" fmla="*/ 16824984 w 19854012"/>
                  <a:gd name="connsiteY7" fmla="*/ 2125062 h 17157244"/>
                  <a:gd name="connsiteX8" fmla="*/ 17830716 w 19854012"/>
                  <a:gd name="connsiteY8" fmla="*/ 5968033 h 17157244"/>
                  <a:gd name="connsiteX9" fmla="*/ 18710884 w 19854012"/>
                  <a:gd name="connsiteY9" fmla="*/ 10452649 h 17157244"/>
                  <a:gd name="connsiteX10" fmla="*/ 19470364 w 19854012"/>
                  <a:gd name="connsiteY10" fmla="*/ 15267233 h 17157244"/>
                  <a:gd name="connsiteX11" fmla="*/ 19470364 w 19854012"/>
                  <a:gd name="connsiteY11" fmla="*/ 15267233 h 17157244"/>
                  <a:gd name="connsiteX12" fmla="*/ 14936642 w 19854012"/>
                  <a:gd name="connsiteY12" fmla="*/ 17117808 h 17157244"/>
                  <a:gd name="connsiteX0" fmla="*/ 7855471 w 19854012"/>
                  <a:gd name="connsiteY0" fmla="*/ 14939705 h 17157244"/>
                  <a:gd name="connsiteX1" fmla="*/ 3999957 w 19854012"/>
                  <a:gd name="connsiteY1" fmla="*/ 12396688 h 17157244"/>
                  <a:gd name="connsiteX2" fmla="*/ 1175778 w 19854012"/>
                  <a:gd name="connsiteY2" fmla="*/ 8678064 h 17157244"/>
                  <a:gd name="connsiteX3" fmla="*/ 161918 w 19854012"/>
                  <a:gd name="connsiteY3" fmla="*/ 3895584 h 17157244"/>
                  <a:gd name="connsiteX4" fmla="*/ 161512 w 19854012"/>
                  <a:gd name="connsiteY4" fmla="*/ 3895177 h 17157244"/>
                  <a:gd name="connsiteX5" fmla="*/ 8683626 w 19854012"/>
                  <a:gd name="connsiteY5" fmla="*/ 192 h 17157244"/>
                  <a:gd name="connsiteX6" fmla="*/ 16824984 w 19854012"/>
                  <a:gd name="connsiteY6" fmla="*/ 2125062 h 17157244"/>
                  <a:gd name="connsiteX7" fmla="*/ 17830716 w 19854012"/>
                  <a:gd name="connsiteY7" fmla="*/ 5968033 h 17157244"/>
                  <a:gd name="connsiteX8" fmla="*/ 18710884 w 19854012"/>
                  <a:gd name="connsiteY8" fmla="*/ 10452649 h 17157244"/>
                  <a:gd name="connsiteX9" fmla="*/ 19470364 w 19854012"/>
                  <a:gd name="connsiteY9" fmla="*/ 15267233 h 17157244"/>
                  <a:gd name="connsiteX10" fmla="*/ 19470364 w 19854012"/>
                  <a:gd name="connsiteY10" fmla="*/ 15267233 h 17157244"/>
                  <a:gd name="connsiteX11" fmla="*/ 14936642 w 19854012"/>
                  <a:gd name="connsiteY11" fmla="*/ 17117808 h 17157244"/>
                  <a:gd name="connsiteX0" fmla="*/ 3999957 w 19854012"/>
                  <a:gd name="connsiteY0" fmla="*/ 12396688 h 17157244"/>
                  <a:gd name="connsiteX1" fmla="*/ 1175778 w 19854012"/>
                  <a:gd name="connsiteY1" fmla="*/ 8678064 h 17157244"/>
                  <a:gd name="connsiteX2" fmla="*/ 161918 w 19854012"/>
                  <a:gd name="connsiteY2" fmla="*/ 3895584 h 17157244"/>
                  <a:gd name="connsiteX3" fmla="*/ 161512 w 19854012"/>
                  <a:gd name="connsiteY3" fmla="*/ 3895177 h 17157244"/>
                  <a:gd name="connsiteX4" fmla="*/ 8683626 w 19854012"/>
                  <a:gd name="connsiteY4" fmla="*/ 192 h 17157244"/>
                  <a:gd name="connsiteX5" fmla="*/ 16824984 w 19854012"/>
                  <a:gd name="connsiteY5" fmla="*/ 2125062 h 17157244"/>
                  <a:gd name="connsiteX6" fmla="*/ 17830716 w 19854012"/>
                  <a:gd name="connsiteY6" fmla="*/ 5968033 h 17157244"/>
                  <a:gd name="connsiteX7" fmla="*/ 18710884 w 19854012"/>
                  <a:gd name="connsiteY7" fmla="*/ 10452649 h 17157244"/>
                  <a:gd name="connsiteX8" fmla="*/ 19470364 w 19854012"/>
                  <a:gd name="connsiteY8" fmla="*/ 15267233 h 17157244"/>
                  <a:gd name="connsiteX9" fmla="*/ 19470364 w 19854012"/>
                  <a:gd name="connsiteY9" fmla="*/ 15267233 h 17157244"/>
                  <a:gd name="connsiteX10" fmla="*/ 14936642 w 19854012"/>
                  <a:gd name="connsiteY10" fmla="*/ 17117808 h 17157244"/>
                  <a:gd name="connsiteX0" fmla="*/ 1175778 w 19854012"/>
                  <a:gd name="connsiteY0" fmla="*/ 8678064 h 17157244"/>
                  <a:gd name="connsiteX1" fmla="*/ 161918 w 19854012"/>
                  <a:gd name="connsiteY1" fmla="*/ 3895584 h 17157244"/>
                  <a:gd name="connsiteX2" fmla="*/ 161512 w 19854012"/>
                  <a:gd name="connsiteY2" fmla="*/ 3895177 h 17157244"/>
                  <a:gd name="connsiteX3" fmla="*/ 8683626 w 19854012"/>
                  <a:gd name="connsiteY3" fmla="*/ 192 h 17157244"/>
                  <a:gd name="connsiteX4" fmla="*/ 16824984 w 19854012"/>
                  <a:gd name="connsiteY4" fmla="*/ 2125062 h 17157244"/>
                  <a:gd name="connsiteX5" fmla="*/ 17830716 w 19854012"/>
                  <a:gd name="connsiteY5" fmla="*/ 5968033 h 17157244"/>
                  <a:gd name="connsiteX6" fmla="*/ 18710884 w 19854012"/>
                  <a:gd name="connsiteY6" fmla="*/ 10452649 h 17157244"/>
                  <a:gd name="connsiteX7" fmla="*/ 19470364 w 19854012"/>
                  <a:gd name="connsiteY7" fmla="*/ 15267233 h 17157244"/>
                  <a:gd name="connsiteX8" fmla="*/ 19470364 w 19854012"/>
                  <a:gd name="connsiteY8" fmla="*/ 15267233 h 17157244"/>
                  <a:gd name="connsiteX9" fmla="*/ 14936642 w 19854012"/>
                  <a:gd name="connsiteY9" fmla="*/ 17117808 h 17157244"/>
                  <a:gd name="connsiteX0" fmla="*/ 407 w 19692501"/>
                  <a:gd name="connsiteY0" fmla="*/ 3895584 h 17157244"/>
                  <a:gd name="connsiteX1" fmla="*/ 1 w 19692501"/>
                  <a:gd name="connsiteY1" fmla="*/ 3895177 h 17157244"/>
                  <a:gd name="connsiteX2" fmla="*/ 8522115 w 19692501"/>
                  <a:gd name="connsiteY2" fmla="*/ 192 h 17157244"/>
                  <a:gd name="connsiteX3" fmla="*/ 16663473 w 19692501"/>
                  <a:gd name="connsiteY3" fmla="*/ 2125062 h 17157244"/>
                  <a:gd name="connsiteX4" fmla="*/ 17669205 w 19692501"/>
                  <a:gd name="connsiteY4" fmla="*/ 5968033 h 17157244"/>
                  <a:gd name="connsiteX5" fmla="*/ 18549373 w 19692501"/>
                  <a:gd name="connsiteY5" fmla="*/ 10452649 h 17157244"/>
                  <a:gd name="connsiteX6" fmla="*/ 19308853 w 19692501"/>
                  <a:gd name="connsiteY6" fmla="*/ 15267233 h 17157244"/>
                  <a:gd name="connsiteX7" fmla="*/ 19308853 w 19692501"/>
                  <a:gd name="connsiteY7" fmla="*/ 15267233 h 17157244"/>
                  <a:gd name="connsiteX8" fmla="*/ 14775131 w 19692501"/>
                  <a:gd name="connsiteY8" fmla="*/ 17117808 h 17157244"/>
                  <a:gd name="connsiteX0" fmla="*/ 1 w 19692095"/>
                  <a:gd name="connsiteY0" fmla="*/ 3895392 h 17157052"/>
                  <a:gd name="connsiteX1" fmla="*/ 8521709 w 19692095"/>
                  <a:gd name="connsiteY1" fmla="*/ 0 h 17157052"/>
                  <a:gd name="connsiteX2" fmla="*/ 16663067 w 19692095"/>
                  <a:gd name="connsiteY2" fmla="*/ 2124870 h 17157052"/>
                  <a:gd name="connsiteX3" fmla="*/ 17668799 w 19692095"/>
                  <a:gd name="connsiteY3" fmla="*/ 5967841 h 17157052"/>
                  <a:gd name="connsiteX4" fmla="*/ 18548967 w 19692095"/>
                  <a:gd name="connsiteY4" fmla="*/ 10452457 h 17157052"/>
                  <a:gd name="connsiteX5" fmla="*/ 19308447 w 19692095"/>
                  <a:gd name="connsiteY5" fmla="*/ 15267041 h 17157052"/>
                  <a:gd name="connsiteX6" fmla="*/ 19308447 w 19692095"/>
                  <a:gd name="connsiteY6" fmla="*/ 15267041 h 17157052"/>
                  <a:gd name="connsiteX7" fmla="*/ 14774725 w 19692095"/>
                  <a:gd name="connsiteY7" fmla="*/ 17117616 h 17157052"/>
                  <a:gd name="connsiteX0" fmla="*/ -1 w 11170385"/>
                  <a:gd name="connsiteY0" fmla="*/ 0 h 17157052"/>
                  <a:gd name="connsiteX1" fmla="*/ 8141357 w 11170385"/>
                  <a:gd name="connsiteY1" fmla="*/ 2124870 h 17157052"/>
                  <a:gd name="connsiteX2" fmla="*/ 9147089 w 11170385"/>
                  <a:gd name="connsiteY2" fmla="*/ 5967841 h 17157052"/>
                  <a:gd name="connsiteX3" fmla="*/ 10027257 w 11170385"/>
                  <a:gd name="connsiteY3" fmla="*/ 10452457 h 17157052"/>
                  <a:gd name="connsiteX4" fmla="*/ 10786737 w 11170385"/>
                  <a:gd name="connsiteY4" fmla="*/ 15267041 h 17157052"/>
                  <a:gd name="connsiteX5" fmla="*/ 10786737 w 11170385"/>
                  <a:gd name="connsiteY5" fmla="*/ 15267041 h 17157052"/>
                  <a:gd name="connsiteX6" fmla="*/ 6253015 w 11170385"/>
                  <a:gd name="connsiteY6" fmla="*/ 17117616 h 17157052"/>
                  <a:gd name="connsiteX0" fmla="*/ -1 w 11170385"/>
                  <a:gd name="connsiteY0" fmla="*/ 0 h 17157052"/>
                  <a:gd name="connsiteX1" fmla="*/ 6556513 w 11170385"/>
                  <a:gd name="connsiteY1" fmla="*/ 1130849 h 17157052"/>
                  <a:gd name="connsiteX2" fmla="*/ 8141357 w 11170385"/>
                  <a:gd name="connsiteY2" fmla="*/ 2124870 h 17157052"/>
                  <a:gd name="connsiteX3" fmla="*/ 9147089 w 11170385"/>
                  <a:gd name="connsiteY3" fmla="*/ 5967841 h 17157052"/>
                  <a:gd name="connsiteX4" fmla="*/ 10027257 w 11170385"/>
                  <a:gd name="connsiteY4" fmla="*/ 10452457 h 17157052"/>
                  <a:gd name="connsiteX5" fmla="*/ 10786737 w 11170385"/>
                  <a:gd name="connsiteY5" fmla="*/ 15267041 h 17157052"/>
                  <a:gd name="connsiteX6" fmla="*/ 10786737 w 11170385"/>
                  <a:gd name="connsiteY6" fmla="*/ 15267041 h 17157052"/>
                  <a:gd name="connsiteX7" fmla="*/ 6253015 w 11170385"/>
                  <a:gd name="connsiteY7" fmla="*/ 17117616 h 17157052"/>
                  <a:gd name="connsiteX0" fmla="*/ -1 w 11170385"/>
                  <a:gd name="connsiteY0" fmla="*/ 0 h 17157052"/>
                  <a:gd name="connsiteX1" fmla="*/ 6556513 w 11170385"/>
                  <a:gd name="connsiteY1" fmla="*/ 1130849 h 17157052"/>
                  <a:gd name="connsiteX2" fmla="*/ 8141357 w 11170385"/>
                  <a:gd name="connsiteY2" fmla="*/ 2124870 h 17157052"/>
                  <a:gd name="connsiteX3" fmla="*/ 9147089 w 11170385"/>
                  <a:gd name="connsiteY3" fmla="*/ 5967841 h 17157052"/>
                  <a:gd name="connsiteX4" fmla="*/ 10027257 w 11170385"/>
                  <a:gd name="connsiteY4" fmla="*/ 10452457 h 17157052"/>
                  <a:gd name="connsiteX5" fmla="*/ 10786737 w 11170385"/>
                  <a:gd name="connsiteY5" fmla="*/ 15267041 h 17157052"/>
                  <a:gd name="connsiteX6" fmla="*/ 10786737 w 11170385"/>
                  <a:gd name="connsiteY6" fmla="*/ 15267041 h 17157052"/>
                  <a:gd name="connsiteX7" fmla="*/ 6253015 w 11170385"/>
                  <a:gd name="connsiteY7" fmla="*/ 17117616 h 17157052"/>
                  <a:gd name="connsiteX0" fmla="*/ -1 w 11170385"/>
                  <a:gd name="connsiteY0" fmla="*/ 0 h 17157052"/>
                  <a:gd name="connsiteX1" fmla="*/ 6556513 w 11170385"/>
                  <a:gd name="connsiteY1" fmla="*/ 1130849 h 17157052"/>
                  <a:gd name="connsiteX2" fmla="*/ 8141357 w 11170385"/>
                  <a:gd name="connsiteY2" fmla="*/ 2124870 h 17157052"/>
                  <a:gd name="connsiteX3" fmla="*/ 9147089 w 11170385"/>
                  <a:gd name="connsiteY3" fmla="*/ 5967841 h 17157052"/>
                  <a:gd name="connsiteX4" fmla="*/ 10027257 w 11170385"/>
                  <a:gd name="connsiteY4" fmla="*/ 10452457 h 17157052"/>
                  <a:gd name="connsiteX5" fmla="*/ 10786737 w 11170385"/>
                  <a:gd name="connsiteY5" fmla="*/ 15267041 h 17157052"/>
                  <a:gd name="connsiteX6" fmla="*/ 10786737 w 11170385"/>
                  <a:gd name="connsiteY6" fmla="*/ 15267041 h 17157052"/>
                  <a:gd name="connsiteX7" fmla="*/ 6253015 w 11170385"/>
                  <a:gd name="connsiteY7" fmla="*/ 17117616 h 17157052"/>
                  <a:gd name="connsiteX0" fmla="*/ 303498 w 4917370"/>
                  <a:gd name="connsiteY0" fmla="*/ 0 h 16026203"/>
                  <a:gd name="connsiteX1" fmla="*/ 1888342 w 4917370"/>
                  <a:gd name="connsiteY1" fmla="*/ 994021 h 16026203"/>
                  <a:gd name="connsiteX2" fmla="*/ 2894074 w 4917370"/>
                  <a:gd name="connsiteY2" fmla="*/ 4836992 h 16026203"/>
                  <a:gd name="connsiteX3" fmla="*/ 3774242 w 4917370"/>
                  <a:gd name="connsiteY3" fmla="*/ 9321608 h 16026203"/>
                  <a:gd name="connsiteX4" fmla="*/ 4533722 w 4917370"/>
                  <a:gd name="connsiteY4" fmla="*/ 14136192 h 16026203"/>
                  <a:gd name="connsiteX5" fmla="*/ 4533722 w 4917370"/>
                  <a:gd name="connsiteY5" fmla="*/ 14136192 h 16026203"/>
                  <a:gd name="connsiteX6" fmla="*/ 0 w 4917370"/>
                  <a:gd name="connsiteY6" fmla="*/ 15986767 h 16026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17370" h="16026203">
                    <a:moveTo>
                      <a:pt x="303498" y="0"/>
                    </a:moveTo>
                    <a:cubicBezTo>
                      <a:pt x="867753" y="322887"/>
                      <a:pt x="1326743" y="460589"/>
                      <a:pt x="1888342" y="994021"/>
                    </a:cubicBezTo>
                    <a:cubicBezTo>
                      <a:pt x="3209000" y="2100547"/>
                      <a:pt x="2941618" y="3872287"/>
                      <a:pt x="2894074" y="4836992"/>
                    </a:cubicBezTo>
                    <a:cubicBezTo>
                      <a:pt x="2871318" y="5850460"/>
                      <a:pt x="2192296" y="7703067"/>
                      <a:pt x="3774242" y="9321608"/>
                    </a:cubicBezTo>
                    <a:cubicBezTo>
                      <a:pt x="4790540" y="10788984"/>
                      <a:pt x="5331808" y="12624118"/>
                      <a:pt x="4533722" y="14136192"/>
                    </a:cubicBezTo>
                    <a:lnTo>
                      <a:pt x="4533722" y="14136192"/>
                    </a:lnTo>
                    <a:cubicBezTo>
                      <a:pt x="3667370" y="15698249"/>
                      <a:pt x="1984242" y="16176945"/>
                      <a:pt x="0" y="15986767"/>
                    </a:cubicBezTo>
                  </a:path>
                </a:pathLst>
              </a:custGeom>
              <a:noFill/>
              <a:ln w="19050" cap="flat">
                <a:solidFill>
                  <a:srgbClr val="FDE6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EE31DD3D-45F3-D5A4-9CA0-49BF666993EF}"/>
                  </a:ext>
                </a:extLst>
              </p:cNvPr>
              <p:cNvSpPr/>
              <p:nvPr/>
            </p:nvSpPr>
            <p:spPr>
              <a:xfrm rot="4500000">
                <a:off x="3387398" y="-3633767"/>
                <a:ext cx="4674705" cy="15542192"/>
              </a:xfrm>
              <a:custGeom>
                <a:avLst/>
                <a:gdLst>
                  <a:gd name="connsiteX0" fmla="*/ 176856 w 19016752"/>
                  <a:gd name="connsiteY0" fmla="*/ 3967320 h 16587921"/>
                  <a:gd name="connsiteX1" fmla="*/ 8406393 w 19016752"/>
                  <a:gd name="connsiteY1" fmla="*/ 3 h 16587921"/>
                  <a:gd name="connsiteX2" fmla="*/ 16146678 w 19016752"/>
                  <a:gd name="connsiteY2" fmla="*/ 2090739 h 16587921"/>
                  <a:gd name="connsiteX3" fmla="*/ 17214990 w 19016752"/>
                  <a:gd name="connsiteY3" fmla="*/ 5703301 h 16587921"/>
                  <a:gd name="connsiteX4" fmla="*/ 18072402 w 19016752"/>
                  <a:gd name="connsiteY4" fmla="*/ 9975391 h 16587921"/>
                  <a:gd name="connsiteX5" fmla="*/ 18600664 w 19016752"/>
                  <a:gd name="connsiteY5" fmla="*/ 14684320 h 16587921"/>
                  <a:gd name="connsiteX6" fmla="*/ 14342047 w 19016752"/>
                  <a:gd name="connsiteY6" fmla="*/ 16575937 h 16587921"/>
                  <a:gd name="connsiteX7" fmla="*/ 13261137 w 19016752"/>
                  <a:gd name="connsiteY7" fmla="*/ 16509700 h 16587921"/>
                  <a:gd name="connsiteX8" fmla="*/ 7591242 w 19016752"/>
                  <a:gd name="connsiteY8" fmla="*/ 14783473 h 16587921"/>
                  <a:gd name="connsiteX9" fmla="*/ 3753202 w 19016752"/>
                  <a:gd name="connsiteY9" fmla="*/ 12338795 h 16587921"/>
                  <a:gd name="connsiteX10" fmla="*/ 1024923 w 19016752"/>
                  <a:gd name="connsiteY10" fmla="*/ 8633988 h 16587921"/>
                  <a:gd name="connsiteX11" fmla="*/ 176856 w 19016752"/>
                  <a:gd name="connsiteY11" fmla="*/ 3967727 h 16587921"/>
                  <a:gd name="connsiteX0" fmla="*/ 13261137 w 19016752"/>
                  <a:gd name="connsiteY0" fmla="*/ 16509700 h 16718315"/>
                  <a:gd name="connsiteX1" fmla="*/ 7591242 w 19016752"/>
                  <a:gd name="connsiteY1" fmla="*/ 14783473 h 16718315"/>
                  <a:gd name="connsiteX2" fmla="*/ 3753202 w 19016752"/>
                  <a:gd name="connsiteY2" fmla="*/ 12338795 h 16718315"/>
                  <a:gd name="connsiteX3" fmla="*/ 1024923 w 19016752"/>
                  <a:gd name="connsiteY3" fmla="*/ 8633988 h 16718315"/>
                  <a:gd name="connsiteX4" fmla="*/ 176856 w 19016752"/>
                  <a:gd name="connsiteY4" fmla="*/ 3967727 h 16718315"/>
                  <a:gd name="connsiteX5" fmla="*/ 176856 w 19016752"/>
                  <a:gd name="connsiteY5" fmla="*/ 3967320 h 16718315"/>
                  <a:gd name="connsiteX6" fmla="*/ 8406393 w 19016752"/>
                  <a:gd name="connsiteY6" fmla="*/ 3 h 16718315"/>
                  <a:gd name="connsiteX7" fmla="*/ 16146678 w 19016752"/>
                  <a:gd name="connsiteY7" fmla="*/ 2090739 h 16718315"/>
                  <a:gd name="connsiteX8" fmla="*/ 17214990 w 19016752"/>
                  <a:gd name="connsiteY8" fmla="*/ 5703301 h 16718315"/>
                  <a:gd name="connsiteX9" fmla="*/ 18072402 w 19016752"/>
                  <a:gd name="connsiteY9" fmla="*/ 9975391 h 16718315"/>
                  <a:gd name="connsiteX10" fmla="*/ 18600664 w 19016752"/>
                  <a:gd name="connsiteY10" fmla="*/ 14684320 h 16718315"/>
                  <a:gd name="connsiteX11" fmla="*/ 14342047 w 19016752"/>
                  <a:gd name="connsiteY11" fmla="*/ 16575937 h 16718315"/>
                  <a:gd name="connsiteX12" fmla="*/ 13469753 w 19016752"/>
                  <a:gd name="connsiteY12" fmla="*/ 16718316 h 16718315"/>
                  <a:gd name="connsiteX0" fmla="*/ 13261137 w 19016752"/>
                  <a:gd name="connsiteY0" fmla="*/ 16509700 h 16587921"/>
                  <a:gd name="connsiteX1" fmla="*/ 7591242 w 19016752"/>
                  <a:gd name="connsiteY1" fmla="*/ 14783473 h 16587921"/>
                  <a:gd name="connsiteX2" fmla="*/ 3753202 w 19016752"/>
                  <a:gd name="connsiteY2" fmla="*/ 12338795 h 16587921"/>
                  <a:gd name="connsiteX3" fmla="*/ 1024923 w 19016752"/>
                  <a:gd name="connsiteY3" fmla="*/ 8633988 h 16587921"/>
                  <a:gd name="connsiteX4" fmla="*/ 176856 w 19016752"/>
                  <a:gd name="connsiteY4" fmla="*/ 3967727 h 16587921"/>
                  <a:gd name="connsiteX5" fmla="*/ 176856 w 19016752"/>
                  <a:gd name="connsiteY5" fmla="*/ 3967320 h 16587921"/>
                  <a:gd name="connsiteX6" fmla="*/ 8406393 w 19016752"/>
                  <a:gd name="connsiteY6" fmla="*/ 3 h 16587921"/>
                  <a:gd name="connsiteX7" fmla="*/ 16146678 w 19016752"/>
                  <a:gd name="connsiteY7" fmla="*/ 2090739 h 16587921"/>
                  <a:gd name="connsiteX8" fmla="*/ 17214990 w 19016752"/>
                  <a:gd name="connsiteY8" fmla="*/ 5703301 h 16587921"/>
                  <a:gd name="connsiteX9" fmla="*/ 18072402 w 19016752"/>
                  <a:gd name="connsiteY9" fmla="*/ 9975391 h 16587921"/>
                  <a:gd name="connsiteX10" fmla="*/ 18600664 w 19016752"/>
                  <a:gd name="connsiteY10" fmla="*/ 14684320 h 16587921"/>
                  <a:gd name="connsiteX11" fmla="*/ 14342047 w 19016752"/>
                  <a:gd name="connsiteY11" fmla="*/ 16575937 h 16587921"/>
                  <a:gd name="connsiteX0" fmla="*/ 7591242 w 19016752"/>
                  <a:gd name="connsiteY0" fmla="*/ 14783473 h 16587921"/>
                  <a:gd name="connsiteX1" fmla="*/ 3753202 w 19016752"/>
                  <a:gd name="connsiteY1" fmla="*/ 12338795 h 16587921"/>
                  <a:gd name="connsiteX2" fmla="*/ 1024923 w 19016752"/>
                  <a:gd name="connsiteY2" fmla="*/ 8633988 h 16587921"/>
                  <a:gd name="connsiteX3" fmla="*/ 176856 w 19016752"/>
                  <a:gd name="connsiteY3" fmla="*/ 3967727 h 16587921"/>
                  <a:gd name="connsiteX4" fmla="*/ 176856 w 19016752"/>
                  <a:gd name="connsiteY4" fmla="*/ 3967320 h 16587921"/>
                  <a:gd name="connsiteX5" fmla="*/ 8406393 w 19016752"/>
                  <a:gd name="connsiteY5" fmla="*/ 3 h 16587921"/>
                  <a:gd name="connsiteX6" fmla="*/ 16146678 w 19016752"/>
                  <a:gd name="connsiteY6" fmla="*/ 2090739 h 16587921"/>
                  <a:gd name="connsiteX7" fmla="*/ 17214990 w 19016752"/>
                  <a:gd name="connsiteY7" fmla="*/ 5703301 h 16587921"/>
                  <a:gd name="connsiteX8" fmla="*/ 18072402 w 19016752"/>
                  <a:gd name="connsiteY8" fmla="*/ 9975391 h 16587921"/>
                  <a:gd name="connsiteX9" fmla="*/ 18600664 w 19016752"/>
                  <a:gd name="connsiteY9" fmla="*/ 14684320 h 16587921"/>
                  <a:gd name="connsiteX10" fmla="*/ 14342047 w 19016752"/>
                  <a:gd name="connsiteY10" fmla="*/ 16575937 h 16587921"/>
                  <a:gd name="connsiteX0" fmla="*/ 3753202 w 19016752"/>
                  <a:gd name="connsiteY0" fmla="*/ 12338795 h 16587921"/>
                  <a:gd name="connsiteX1" fmla="*/ 1024923 w 19016752"/>
                  <a:gd name="connsiteY1" fmla="*/ 8633988 h 16587921"/>
                  <a:gd name="connsiteX2" fmla="*/ 176856 w 19016752"/>
                  <a:gd name="connsiteY2" fmla="*/ 3967727 h 16587921"/>
                  <a:gd name="connsiteX3" fmla="*/ 176856 w 19016752"/>
                  <a:gd name="connsiteY3" fmla="*/ 3967320 h 16587921"/>
                  <a:gd name="connsiteX4" fmla="*/ 8406393 w 19016752"/>
                  <a:gd name="connsiteY4" fmla="*/ 3 h 16587921"/>
                  <a:gd name="connsiteX5" fmla="*/ 16146678 w 19016752"/>
                  <a:gd name="connsiteY5" fmla="*/ 2090739 h 16587921"/>
                  <a:gd name="connsiteX6" fmla="*/ 17214990 w 19016752"/>
                  <a:gd name="connsiteY6" fmla="*/ 5703301 h 16587921"/>
                  <a:gd name="connsiteX7" fmla="*/ 18072402 w 19016752"/>
                  <a:gd name="connsiteY7" fmla="*/ 9975391 h 16587921"/>
                  <a:gd name="connsiteX8" fmla="*/ 18600664 w 19016752"/>
                  <a:gd name="connsiteY8" fmla="*/ 14684320 h 16587921"/>
                  <a:gd name="connsiteX9" fmla="*/ 14342047 w 19016752"/>
                  <a:gd name="connsiteY9" fmla="*/ 16575937 h 16587921"/>
                  <a:gd name="connsiteX0" fmla="*/ 1024923 w 19016752"/>
                  <a:gd name="connsiteY0" fmla="*/ 8633988 h 16587921"/>
                  <a:gd name="connsiteX1" fmla="*/ 176856 w 19016752"/>
                  <a:gd name="connsiteY1" fmla="*/ 3967727 h 16587921"/>
                  <a:gd name="connsiteX2" fmla="*/ 176856 w 19016752"/>
                  <a:gd name="connsiteY2" fmla="*/ 3967320 h 16587921"/>
                  <a:gd name="connsiteX3" fmla="*/ 8406393 w 19016752"/>
                  <a:gd name="connsiteY3" fmla="*/ 3 h 16587921"/>
                  <a:gd name="connsiteX4" fmla="*/ 16146678 w 19016752"/>
                  <a:gd name="connsiteY4" fmla="*/ 2090739 h 16587921"/>
                  <a:gd name="connsiteX5" fmla="*/ 17214990 w 19016752"/>
                  <a:gd name="connsiteY5" fmla="*/ 5703301 h 16587921"/>
                  <a:gd name="connsiteX6" fmla="*/ 18072402 w 19016752"/>
                  <a:gd name="connsiteY6" fmla="*/ 9975391 h 16587921"/>
                  <a:gd name="connsiteX7" fmla="*/ 18600664 w 19016752"/>
                  <a:gd name="connsiteY7" fmla="*/ 14684320 h 16587921"/>
                  <a:gd name="connsiteX8" fmla="*/ 14342047 w 19016752"/>
                  <a:gd name="connsiteY8" fmla="*/ 16575937 h 16587921"/>
                  <a:gd name="connsiteX0" fmla="*/ 0 w 18839896"/>
                  <a:gd name="connsiteY0" fmla="*/ 3967727 h 16587921"/>
                  <a:gd name="connsiteX1" fmla="*/ 0 w 18839896"/>
                  <a:gd name="connsiteY1" fmla="*/ 3967320 h 16587921"/>
                  <a:gd name="connsiteX2" fmla="*/ 8229537 w 18839896"/>
                  <a:gd name="connsiteY2" fmla="*/ 3 h 16587921"/>
                  <a:gd name="connsiteX3" fmla="*/ 15969822 w 18839896"/>
                  <a:gd name="connsiteY3" fmla="*/ 2090739 h 16587921"/>
                  <a:gd name="connsiteX4" fmla="*/ 17038134 w 18839896"/>
                  <a:gd name="connsiteY4" fmla="*/ 5703301 h 16587921"/>
                  <a:gd name="connsiteX5" fmla="*/ 17895546 w 18839896"/>
                  <a:gd name="connsiteY5" fmla="*/ 9975391 h 16587921"/>
                  <a:gd name="connsiteX6" fmla="*/ 18423808 w 18839896"/>
                  <a:gd name="connsiteY6" fmla="*/ 14684320 h 16587921"/>
                  <a:gd name="connsiteX7" fmla="*/ 14165191 w 18839896"/>
                  <a:gd name="connsiteY7" fmla="*/ 16575937 h 16587921"/>
                  <a:gd name="connsiteX0" fmla="*/ 0 w 18839896"/>
                  <a:gd name="connsiteY0" fmla="*/ 3967725 h 16587919"/>
                  <a:gd name="connsiteX1" fmla="*/ 8229537 w 18839896"/>
                  <a:gd name="connsiteY1" fmla="*/ 1 h 16587919"/>
                  <a:gd name="connsiteX2" fmla="*/ 15969822 w 18839896"/>
                  <a:gd name="connsiteY2" fmla="*/ 2090737 h 16587919"/>
                  <a:gd name="connsiteX3" fmla="*/ 17038134 w 18839896"/>
                  <a:gd name="connsiteY3" fmla="*/ 5703299 h 16587919"/>
                  <a:gd name="connsiteX4" fmla="*/ 17895546 w 18839896"/>
                  <a:gd name="connsiteY4" fmla="*/ 9975389 h 16587919"/>
                  <a:gd name="connsiteX5" fmla="*/ 18423808 w 18839896"/>
                  <a:gd name="connsiteY5" fmla="*/ 14684318 h 16587919"/>
                  <a:gd name="connsiteX6" fmla="*/ 14165191 w 18839896"/>
                  <a:gd name="connsiteY6" fmla="*/ 16575935 h 16587919"/>
                  <a:gd name="connsiteX0" fmla="*/ -1 w 10610358"/>
                  <a:gd name="connsiteY0" fmla="*/ 1 h 16587919"/>
                  <a:gd name="connsiteX1" fmla="*/ 7740284 w 10610358"/>
                  <a:gd name="connsiteY1" fmla="*/ 2090737 h 16587919"/>
                  <a:gd name="connsiteX2" fmla="*/ 8808596 w 10610358"/>
                  <a:gd name="connsiteY2" fmla="*/ 5703299 h 16587919"/>
                  <a:gd name="connsiteX3" fmla="*/ 9666008 w 10610358"/>
                  <a:gd name="connsiteY3" fmla="*/ 9975389 h 16587919"/>
                  <a:gd name="connsiteX4" fmla="*/ 10194270 w 10610358"/>
                  <a:gd name="connsiteY4" fmla="*/ 14684318 h 16587919"/>
                  <a:gd name="connsiteX5" fmla="*/ 5935653 w 10610358"/>
                  <a:gd name="connsiteY5" fmla="*/ 16575935 h 16587919"/>
                  <a:gd name="connsiteX0" fmla="*/ -1 w 10610358"/>
                  <a:gd name="connsiteY0" fmla="*/ 1 h 16587919"/>
                  <a:gd name="connsiteX1" fmla="*/ 6047319 w 10610358"/>
                  <a:gd name="connsiteY1" fmla="*/ 1045729 h 16587919"/>
                  <a:gd name="connsiteX2" fmla="*/ 7740284 w 10610358"/>
                  <a:gd name="connsiteY2" fmla="*/ 2090737 h 16587919"/>
                  <a:gd name="connsiteX3" fmla="*/ 8808596 w 10610358"/>
                  <a:gd name="connsiteY3" fmla="*/ 5703299 h 16587919"/>
                  <a:gd name="connsiteX4" fmla="*/ 9666008 w 10610358"/>
                  <a:gd name="connsiteY4" fmla="*/ 9975389 h 16587919"/>
                  <a:gd name="connsiteX5" fmla="*/ 10194270 w 10610358"/>
                  <a:gd name="connsiteY5" fmla="*/ 14684318 h 16587919"/>
                  <a:gd name="connsiteX6" fmla="*/ 5935653 w 10610358"/>
                  <a:gd name="connsiteY6" fmla="*/ 16575935 h 16587919"/>
                  <a:gd name="connsiteX0" fmla="*/ -1 w 10610358"/>
                  <a:gd name="connsiteY0" fmla="*/ 1 h 16587919"/>
                  <a:gd name="connsiteX1" fmla="*/ 6047319 w 10610358"/>
                  <a:gd name="connsiteY1" fmla="*/ 1045729 h 16587919"/>
                  <a:gd name="connsiteX2" fmla="*/ 7740284 w 10610358"/>
                  <a:gd name="connsiteY2" fmla="*/ 2090737 h 16587919"/>
                  <a:gd name="connsiteX3" fmla="*/ 8808596 w 10610358"/>
                  <a:gd name="connsiteY3" fmla="*/ 5703299 h 16587919"/>
                  <a:gd name="connsiteX4" fmla="*/ 9666008 w 10610358"/>
                  <a:gd name="connsiteY4" fmla="*/ 9975389 h 16587919"/>
                  <a:gd name="connsiteX5" fmla="*/ 10194270 w 10610358"/>
                  <a:gd name="connsiteY5" fmla="*/ 14684318 h 16587919"/>
                  <a:gd name="connsiteX6" fmla="*/ 5935653 w 10610358"/>
                  <a:gd name="connsiteY6" fmla="*/ 16575935 h 16587919"/>
                  <a:gd name="connsiteX0" fmla="*/ -1 w 10610358"/>
                  <a:gd name="connsiteY0" fmla="*/ 1 h 16587919"/>
                  <a:gd name="connsiteX1" fmla="*/ 6047319 w 10610358"/>
                  <a:gd name="connsiteY1" fmla="*/ 1045729 h 16587919"/>
                  <a:gd name="connsiteX2" fmla="*/ 7740284 w 10610358"/>
                  <a:gd name="connsiteY2" fmla="*/ 2090737 h 16587919"/>
                  <a:gd name="connsiteX3" fmla="*/ 8808596 w 10610358"/>
                  <a:gd name="connsiteY3" fmla="*/ 5703299 h 16587919"/>
                  <a:gd name="connsiteX4" fmla="*/ 9666008 w 10610358"/>
                  <a:gd name="connsiteY4" fmla="*/ 9975389 h 16587919"/>
                  <a:gd name="connsiteX5" fmla="*/ 10194270 w 10610358"/>
                  <a:gd name="connsiteY5" fmla="*/ 14684318 h 16587919"/>
                  <a:gd name="connsiteX6" fmla="*/ 5935653 w 10610358"/>
                  <a:gd name="connsiteY6" fmla="*/ 16575935 h 16587919"/>
                  <a:gd name="connsiteX0" fmla="*/ 111667 w 4674706"/>
                  <a:gd name="connsiteY0" fmla="*/ 0 h 15542190"/>
                  <a:gd name="connsiteX1" fmla="*/ 1804632 w 4674706"/>
                  <a:gd name="connsiteY1" fmla="*/ 1045008 h 15542190"/>
                  <a:gd name="connsiteX2" fmla="*/ 2872944 w 4674706"/>
                  <a:gd name="connsiteY2" fmla="*/ 4657570 h 15542190"/>
                  <a:gd name="connsiteX3" fmla="*/ 3730356 w 4674706"/>
                  <a:gd name="connsiteY3" fmla="*/ 8929660 h 15542190"/>
                  <a:gd name="connsiteX4" fmla="*/ 4258618 w 4674706"/>
                  <a:gd name="connsiteY4" fmla="*/ 13638589 h 15542190"/>
                  <a:gd name="connsiteX5" fmla="*/ 1 w 4674706"/>
                  <a:gd name="connsiteY5" fmla="*/ 15530206 h 15542190"/>
                  <a:gd name="connsiteX0" fmla="*/ 111667 w 4674706"/>
                  <a:gd name="connsiteY0" fmla="*/ 0 h 15542190"/>
                  <a:gd name="connsiteX1" fmla="*/ 1804632 w 4674706"/>
                  <a:gd name="connsiteY1" fmla="*/ 1045008 h 15542190"/>
                  <a:gd name="connsiteX2" fmla="*/ 2872944 w 4674706"/>
                  <a:gd name="connsiteY2" fmla="*/ 4657570 h 15542190"/>
                  <a:gd name="connsiteX3" fmla="*/ 3730356 w 4674706"/>
                  <a:gd name="connsiteY3" fmla="*/ 8929660 h 15542190"/>
                  <a:gd name="connsiteX4" fmla="*/ 4258618 w 4674706"/>
                  <a:gd name="connsiteY4" fmla="*/ 13638589 h 15542190"/>
                  <a:gd name="connsiteX5" fmla="*/ 1 w 4674706"/>
                  <a:gd name="connsiteY5" fmla="*/ 15530206 h 15542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74706" h="15542190">
                    <a:moveTo>
                      <a:pt x="111667" y="0"/>
                    </a:moveTo>
                    <a:cubicBezTo>
                      <a:pt x="1041901" y="413654"/>
                      <a:pt x="1200238" y="401987"/>
                      <a:pt x="1804632" y="1045008"/>
                    </a:cubicBezTo>
                    <a:cubicBezTo>
                      <a:pt x="3150128" y="2227881"/>
                      <a:pt x="2867660" y="3719686"/>
                      <a:pt x="2872944" y="4657570"/>
                    </a:cubicBezTo>
                    <a:cubicBezTo>
                      <a:pt x="2906672" y="5650721"/>
                      <a:pt x="2344273" y="7390358"/>
                      <a:pt x="3730356" y="8929660"/>
                    </a:cubicBezTo>
                    <a:cubicBezTo>
                      <a:pt x="4626372" y="10403536"/>
                      <a:pt x="5047766" y="12177715"/>
                      <a:pt x="4258618" y="13638589"/>
                    </a:cubicBezTo>
                    <a:cubicBezTo>
                      <a:pt x="3425588" y="15118561"/>
                      <a:pt x="1852175" y="15629766"/>
                      <a:pt x="1" y="15530206"/>
                    </a:cubicBezTo>
                  </a:path>
                </a:pathLst>
              </a:custGeom>
              <a:noFill/>
              <a:ln w="19050" cap="flat">
                <a:solidFill>
                  <a:srgbClr val="EAE5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2CCA28C3-7EBC-7077-4769-A4282992A7A6}"/>
                  </a:ext>
                </a:extLst>
              </p:cNvPr>
              <p:cNvSpPr/>
              <p:nvPr/>
            </p:nvSpPr>
            <p:spPr>
              <a:xfrm rot="4500000">
                <a:off x="3640729" y="-3461759"/>
                <a:ext cx="4500408" cy="15072986"/>
              </a:xfrm>
              <a:custGeom>
                <a:avLst/>
                <a:gdLst>
                  <a:gd name="connsiteX0" fmla="*/ 195045 w 18189958"/>
                  <a:gd name="connsiteY0" fmla="*/ 4039753 h 16041490"/>
                  <a:gd name="connsiteX1" fmla="*/ 8132411 w 18189958"/>
                  <a:gd name="connsiteY1" fmla="*/ 102 h 16041490"/>
                  <a:gd name="connsiteX2" fmla="*/ 15471621 w 18189958"/>
                  <a:gd name="connsiteY2" fmla="*/ 2056297 h 16041490"/>
                  <a:gd name="connsiteX3" fmla="*/ 16602512 w 18189958"/>
                  <a:gd name="connsiteY3" fmla="*/ 5438453 h 16041490"/>
                  <a:gd name="connsiteX4" fmla="*/ 17436762 w 18189958"/>
                  <a:gd name="connsiteY4" fmla="*/ 9498420 h 16041490"/>
                  <a:gd name="connsiteX5" fmla="*/ 17733808 w 18189958"/>
                  <a:gd name="connsiteY5" fmla="*/ 14101289 h 16041490"/>
                  <a:gd name="connsiteX6" fmla="*/ 13750701 w 18189958"/>
                  <a:gd name="connsiteY6" fmla="*/ 16033949 h 16041490"/>
                  <a:gd name="connsiteX7" fmla="*/ 12736027 w 18189958"/>
                  <a:gd name="connsiteY7" fmla="*/ 16022571 h 16041490"/>
                  <a:gd name="connsiteX8" fmla="*/ 7329856 w 18189958"/>
                  <a:gd name="connsiteY8" fmla="*/ 14627528 h 16041490"/>
                  <a:gd name="connsiteX9" fmla="*/ 3509290 w 18189958"/>
                  <a:gd name="connsiteY9" fmla="*/ 12280784 h 16041490"/>
                  <a:gd name="connsiteX10" fmla="*/ 876911 w 18189958"/>
                  <a:gd name="connsiteY10" fmla="*/ 8589794 h 16041490"/>
                  <a:gd name="connsiteX11" fmla="*/ 194639 w 18189958"/>
                  <a:gd name="connsiteY11" fmla="*/ 4039753 h 16041490"/>
                  <a:gd name="connsiteX0" fmla="*/ 12736027 w 18189958"/>
                  <a:gd name="connsiteY0" fmla="*/ 16022571 h 16231186"/>
                  <a:gd name="connsiteX1" fmla="*/ 7329856 w 18189958"/>
                  <a:gd name="connsiteY1" fmla="*/ 14627528 h 16231186"/>
                  <a:gd name="connsiteX2" fmla="*/ 3509290 w 18189958"/>
                  <a:gd name="connsiteY2" fmla="*/ 12280784 h 16231186"/>
                  <a:gd name="connsiteX3" fmla="*/ 876911 w 18189958"/>
                  <a:gd name="connsiteY3" fmla="*/ 8589794 h 16231186"/>
                  <a:gd name="connsiteX4" fmla="*/ 194639 w 18189958"/>
                  <a:gd name="connsiteY4" fmla="*/ 4039753 h 16231186"/>
                  <a:gd name="connsiteX5" fmla="*/ 195045 w 18189958"/>
                  <a:gd name="connsiteY5" fmla="*/ 4039753 h 16231186"/>
                  <a:gd name="connsiteX6" fmla="*/ 8132411 w 18189958"/>
                  <a:gd name="connsiteY6" fmla="*/ 102 h 16231186"/>
                  <a:gd name="connsiteX7" fmla="*/ 15471621 w 18189958"/>
                  <a:gd name="connsiteY7" fmla="*/ 2056297 h 16231186"/>
                  <a:gd name="connsiteX8" fmla="*/ 16602512 w 18189958"/>
                  <a:gd name="connsiteY8" fmla="*/ 5438453 h 16231186"/>
                  <a:gd name="connsiteX9" fmla="*/ 17436762 w 18189958"/>
                  <a:gd name="connsiteY9" fmla="*/ 9498420 h 16231186"/>
                  <a:gd name="connsiteX10" fmla="*/ 17733808 w 18189958"/>
                  <a:gd name="connsiteY10" fmla="*/ 14101289 h 16231186"/>
                  <a:gd name="connsiteX11" fmla="*/ 13750701 w 18189958"/>
                  <a:gd name="connsiteY11" fmla="*/ 16033949 h 16231186"/>
                  <a:gd name="connsiteX12" fmla="*/ 12944643 w 18189958"/>
                  <a:gd name="connsiteY12" fmla="*/ 16231187 h 16231186"/>
                  <a:gd name="connsiteX0" fmla="*/ 12736027 w 18189958"/>
                  <a:gd name="connsiteY0" fmla="*/ 16022571 h 16034066"/>
                  <a:gd name="connsiteX1" fmla="*/ 7329856 w 18189958"/>
                  <a:gd name="connsiteY1" fmla="*/ 14627528 h 16034066"/>
                  <a:gd name="connsiteX2" fmla="*/ 3509290 w 18189958"/>
                  <a:gd name="connsiteY2" fmla="*/ 12280784 h 16034066"/>
                  <a:gd name="connsiteX3" fmla="*/ 876911 w 18189958"/>
                  <a:gd name="connsiteY3" fmla="*/ 8589794 h 16034066"/>
                  <a:gd name="connsiteX4" fmla="*/ 194639 w 18189958"/>
                  <a:gd name="connsiteY4" fmla="*/ 4039753 h 16034066"/>
                  <a:gd name="connsiteX5" fmla="*/ 195045 w 18189958"/>
                  <a:gd name="connsiteY5" fmla="*/ 4039753 h 16034066"/>
                  <a:gd name="connsiteX6" fmla="*/ 8132411 w 18189958"/>
                  <a:gd name="connsiteY6" fmla="*/ 102 h 16034066"/>
                  <a:gd name="connsiteX7" fmla="*/ 15471621 w 18189958"/>
                  <a:gd name="connsiteY7" fmla="*/ 2056297 h 16034066"/>
                  <a:gd name="connsiteX8" fmla="*/ 16602512 w 18189958"/>
                  <a:gd name="connsiteY8" fmla="*/ 5438453 h 16034066"/>
                  <a:gd name="connsiteX9" fmla="*/ 17436762 w 18189958"/>
                  <a:gd name="connsiteY9" fmla="*/ 9498420 h 16034066"/>
                  <a:gd name="connsiteX10" fmla="*/ 17733808 w 18189958"/>
                  <a:gd name="connsiteY10" fmla="*/ 14101289 h 16034066"/>
                  <a:gd name="connsiteX11" fmla="*/ 13750701 w 18189958"/>
                  <a:gd name="connsiteY11" fmla="*/ 16033949 h 16034066"/>
                  <a:gd name="connsiteX0" fmla="*/ 7329856 w 18189958"/>
                  <a:gd name="connsiteY0" fmla="*/ 14627528 h 16034066"/>
                  <a:gd name="connsiteX1" fmla="*/ 3509290 w 18189958"/>
                  <a:gd name="connsiteY1" fmla="*/ 12280784 h 16034066"/>
                  <a:gd name="connsiteX2" fmla="*/ 876911 w 18189958"/>
                  <a:gd name="connsiteY2" fmla="*/ 8589794 h 16034066"/>
                  <a:gd name="connsiteX3" fmla="*/ 194639 w 18189958"/>
                  <a:gd name="connsiteY3" fmla="*/ 4039753 h 16034066"/>
                  <a:gd name="connsiteX4" fmla="*/ 195045 w 18189958"/>
                  <a:gd name="connsiteY4" fmla="*/ 4039753 h 16034066"/>
                  <a:gd name="connsiteX5" fmla="*/ 8132411 w 18189958"/>
                  <a:gd name="connsiteY5" fmla="*/ 102 h 16034066"/>
                  <a:gd name="connsiteX6" fmla="*/ 15471621 w 18189958"/>
                  <a:gd name="connsiteY6" fmla="*/ 2056297 h 16034066"/>
                  <a:gd name="connsiteX7" fmla="*/ 16602512 w 18189958"/>
                  <a:gd name="connsiteY7" fmla="*/ 5438453 h 16034066"/>
                  <a:gd name="connsiteX8" fmla="*/ 17436762 w 18189958"/>
                  <a:gd name="connsiteY8" fmla="*/ 9498420 h 16034066"/>
                  <a:gd name="connsiteX9" fmla="*/ 17733808 w 18189958"/>
                  <a:gd name="connsiteY9" fmla="*/ 14101289 h 16034066"/>
                  <a:gd name="connsiteX10" fmla="*/ 13750701 w 18189958"/>
                  <a:gd name="connsiteY10" fmla="*/ 16033949 h 16034066"/>
                  <a:gd name="connsiteX0" fmla="*/ 3509290 w 18189958"/>
                  <a:gd name="connsiteY0" fmla="*/ 12280784 h 16034066"/>
                  <a:gd name="connsiteX1" fmla="*/ 876911 w 18189958"/>
                  <a:gd name="connsiteY1" fmla="*/ 8589794 h 16034066"/>
                  <a:gd name="connsiteX2" fmla="*/ 194639 w 18189958"/>
                  <a:gd name="connsiteY2" fmla="*/ 4039753 h 16034066"/>
                  <a:gd name="connsiteX3" fmla="*/ 195045 w 18189958"/>
                  <a:gd name="connsiteY3" fmla="*/ 4039753 h 16034066"/>
                  <a:gd name="connsiteX4" fmla="*/ 8132411 w 18189958"/>
                  <a:gd name="connsiteY4" fmla="*/ 102 h 16034066"/>
                  <a:gd name="connsiteX5" fmla="*/ 15471621 w 18189958"/>
                  <a:gd name="connsiteY5" fmla="*/ 2056297 h 16034066"/>
                  <a:gd name="connsiteX6" fmla="*/ 16602512 w 18189958"/>
                  <a:gd name="connsiteY6" fmla="*/ 5438453 h 16034066"/>
                  <a:gd name="connsiteX7" fmla="*/ 17436762 w 18189958"/>
                  <a:gd name="connsiteY7" fmla="*/ 9498420 h 16034066"/>
                  <a:gd name="connsiteX8" fmla="*/ 17733808 w 18189958"/>
                  <a:gd name="connsiteY8" fmla="*/ 14101289 h 16034066"/>
                  <a:gd name="connsiteX9" fmla="*/ 13750701 w 18189958"/>
                  <a:gd name="connsiteY9" fmla="*/ 16033949 h 16034066"/>
                  <a:gd name="connsiteX0" fmla="*/ 876911 w 18189958"/>
                  <a:gd name="connsiteY0" fmla="*/ 8589794 h 16034066"/>
                  <a:gd name="connsiteX1" fmla="*/ 194639 w 18189958"/>
                  <a:gd name="connsiteY1" fmla="*/ 4039753 h 16034066"/>
                  <a:gd name="connsiteX2" fmla="*/ 195045 w 18189958"/>
                  <a:gd name="connsiteY2" fmla="*/ 4039753 h 16034066"/>
                  <a:gd name="connsiteX3" fmla="*/ 8132411 w 18189958"/>
                  <a:gd name="connsiteY3" fmla="*/ 102 h 16034066"/>
                  <a:gd name="connsiteX4" fmla="*/ 15471621 w 18189958"/>
                  <a:gd name="connsiteY4" fmla="*/ 2056297 h 16034066"/>
                  <a:gd name="connsiteX5" fmla="*/ 16602512 w 18189958"/>
                  <a:gd name="connsiteY5" fmla="*/ 5438453 h 16034066"/>
                  <a:gd name="connsiteX6" fmla="*/ 17436762 w 18189958"/>
                  <a:gd name="connsiteY6" fmla="*/ 9498420 h 16034066"/>
                  <a:gd name="connsiteX7" fmla="*/ 17733808 w 18189958"/>
                  <a:gd name="connsiteY7" fmla="*/ 14101289 h 16034066"/>
                  <a:gd name="connsiteX8" fmla="*/ 13750701 w 18189958"/>
                  <a:gd name="connsiteY8" fmla="*/ 16033949 h 16034066"/>
                  <a:gd name="connsiteX0" fmla="*/ 1 w 17995320"/>
                  <a:gd name="connsiteY0" fmla="*/ 4039753 h 16034066"/>
                  <a:gd name="connsiteX1" fmla="*/ 407 w 17995320"/>
                  <a:gd name="connsiteY1" fmla="*/ 4039753 h 16034066"/>
                  <a:gd name="connsiteX2" fmla="*/ 7937773 w 17995320"/>
                  <a:gd name="connsiteY2" fmla="*/ 102 h 16034066"/>
                  <a:gd name="connsiteX3" fmla="*/ 15276983 w 17995320"/>
                  <a:gd name="connsiteY3" fmla="*/ 2056297 h 16034066"/>
                  <a:gd name="connsiteX4" fmla="*/ 16407874 w 17995320"/>
                  <a:gd name="connsiteY4" fmla="*/ 5438453 h 16034066"/>
                  <a:gd name="connsiteX5" fmla="*/ 17242124 w 17995320"/>
                  <a:gd name="connsiteY5" fmla="*/ 9498420 h 16034066"/>
                  <a:gd name="connsiteX6" fmla="*/ 17539170 w 17995320"/>
                  <a:gd name="connsiteY6" fmla="*/ 14101289 h 16034066"/>
                  <a:gd name="connsiteX7" fmla="*/ 13556063 w 17995320"/>
                  <a:gd name="connsiteY7" fmla="*/ 16033949 h 16034066"/>
                  <a:gd name="connsiteX0" fmla="*/ 1 w 17995320"/>
                  <a:gd name="connsiteY0" fmla="*/ 4039753 h 16034066"/>
                  <a:gd name="connsiteX1" fmla="*/ 7937773 w 17995320"/>
                  <a:gd name="connsiteY1" fmla="*/ 102 h 16034066"/>
                  <a:gd name="connsiteX2" fmla="*/ 15276983 w 17995320"/>
                  <a:gd name="connsiteY2" fmla="*/ 2056297 h 16034066"/>
                  <a:gd name="connsiteX3" fmla="*/ 16407874 w 17995320"/>
                  <a:gd name="connsiteY3" fmla="*/ 5438453 h 16034066"/>
                  <a:gd name="connsiteX4" fmla="*/ 17242124 w 17995320"/>
                  <a:gd name="connsiteY4" fmla="*/ 9498420 h 16034066"/>
                  <a:gd name="connsiteX5" fmla="*/ 17539170 w 17995320"/>
                  <a:gd name="connsiteY5" fmla="*/ 14101289 h 16034066"/>
                  <a:gd name="connsiteX6" fmla="*/ 13556063 w 17995320"/>
                  <a:gd name="connsiteY6" fmla="*/ 16033949 h 16034066"/>
                  <a:gd name="connsiteX0" fmla="*/ 0 w 10057547"/>
                  <a:gd name="connsiteY0" fmla="*/ 102 h 16034066"/>
                  <a:gd name="connsiteX1" fmla="*/ 7339210 w 10057547"/>
                  <a:gd name="connsiteY1" fmla="*/ 2056297 h 16034066"/>
                  <a:gd name="connsiteX2" fmla="*/ 8470101 w 10057547"/>
                  <a:gd name="connsiteY2" fmla="*/ 5438453 h 16034066"/>
                  <a:gd name="connsiteX3" fmla="*/ 9304351 w 10057547"/>
                  <a:gd name="connsiteY3" fmla="*/ 9498420 h 16034066"/>
                  <a:gd name="connsiteX4" fmla="*/ 9601397 w 10057547"/>
                  <a:gd name="connsiteY4" fmla="*/ 14101289 h 16034066"/>
                  <a:gd name="connsiteX5" fmla="*/ 5618290 w 10057547"/>
                  <a:gd name="connsiteY5" fmla="*/ 16033949 h 16034066"/>
                  <a:gd name="connsiteX0" fmla="*/ 0 w 10057547"/>
                  <a:gd name="connsiteY0" fmla="*/ 0 h 16033964"/>
                  <a:gd name="connsiteX1" fmla="*/ 5557139 w 10057547"/>
                  <a:gd name="connsiteY1" fmla="*/ 960978 h 16033964"/>
                  <a:gd name="connsiteX2" fmla="*/ 7339210 w 10057547"/>
                  <a:gd name="connsiteY2" fmla="*/ 2056195 h 16033964"/>
                  <a:gd name="connsiteX3" fmla="*/ 8470101 w 10057547"/>
                  <a:gd name="connsiteY3" fmla="*/ 5438351 h 16033964"/>
                  <a:gd name="connsiteX4" fmla="*/ 9304351 w 10057547"/>
                  <a:gd name="connsiteY4" fmla="*/ 9498318 h 16033964"/>
                  <a:gd name="connsiteX5" fmla="*/ 9601397 w 10057547"/>
                  <a:gd name="connsiteY5" fmla="*/ 14101187 h 16033964"/>
                  <a:gd name="connsiteX6" fmla="*/ 5618290 w 10057547"/>
                  <a:gd name="connsiteY6" fmla="*/ 16033847 h 16033964"/>
                  <a:gd name="connsiteX0" fmla="*/ 0 w 4500408"/>
                  <a:gd name="connsiteY0" fmla="*/ 0 h 15072986"/>
                  <a:gd name="connsiteX1" fmla="*/ 1782071 w 4500408"/>
                  <a:gd name="connsiteY1" fmla="*/ 1095217 h 15072986"/>
                  <a:gd name="connsiteX2" fmla="*/ 2912962 w 4500408"/>
                  <a:gd name="connsiteY2" fmla="*/ 4477373 h 15072986"/>
                  <a:gd name="connsiteX3" fmla="*/ 3747212 w 4500408"/>
                  <a:gd name="connsiteY3" fmla="*/ 8537340 h 15072986"/>
                  <a:gd name="connsiteX4" fmla="*/ 4044258 w 4500408"/>
                  <a:gd name="connsiteY4" fmla="*/ 13140209 h 15072986"/>
                  <a:gd name="connsiteX5" fmla="*/ 61151 w 4500408"/>
                  <a:gd name="connsiteY5" fmla="*/ 15072869 h 15072986"/>
                  <a:gd name="connsiteX0" fmla="*/ 0 w 4500408"/>
                  <a:gd name="connsiteY0" fmla="*/ 0 h 15072986"/>
                  <a:gd name="connsiteX1" fmla="*/ 1782071 w 4500408"/>
                  <a:gd name="connsiteY1" fmla="*/ 1095217 h 15072986"/>
                  <a:gd name="connsiteX2" fmla="*/ 2912962 w 4500408"/>
                  <a:gd name="connsiteY2" fmla="*/ 4477373 h 15072986"/>
                  <a:gd name="connsiteX3" fmla="*/ 3747212 w 4500408"/>
                  <a:gd name="connsiteY3" fmla="*/ 8537340 h 15072986"/>
                  <a:gd name="connsiteX4" fmla="*/ 4044258 w 4500408"/>
                  <a:gd name="connsiteY4" fmla="*/ 13140209 h 15072986"/>
                  <a:gd name="connsiteX5" fmla="*/ 61151 w 4500408"/>
                  <a:gd name="connsiteY5" fmla="*/ 15072869 h 15072986"/>
                  <a:gd name="connsiteX0" fmla="*/ 0 w 4500408"/>
                  <a:gd name="connsiteY0" fmla="*/ 0 h 15072986"/>
                  <a:gd name="connsiteX1" fmla="*/ 1782071 w 4500408"/>
                  <a:gd name="connsiteY1" fmla="*/ 1095217 h 15072986"/>
                  <a:gd name="connsiteX2" fmla="*/ 2912962 w 4500408"/>
                  <a:gd name="connsiteY2" fmla="*/ 4477373 h 15072986"/>
                  <a:gd name="connsiteX3" fmla="*/ 3747212 w 4500408"/>
                  <a:gd name="connsiteY3" fmla="*/ 8537340 h 15072986"/>
                  <a:gd name="connsiteX4" fmla="*/ 4044258 w 4500408"/>
                  <a:gd name="connsiteY4" fmla="*/ 13140209 h 15072986"/>
                  <a:gd name="connsiteX5" fmla="*/ 61151 w 4500408"/>
                  <a:gd name="connsiteY5" fmla="*/ 15072869 h 15072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00408" h="15072986">
                    <a:moveTo>
                      <a:pt x="0" y="0"/>
                    </a:moveTo>
                    <a:cubicBezTo>
                      <a:pt x="822195" y="445965"/>
                      <a:pt x="1034280" y="457723"/>
                      <a:pt x="1782071" y="1095217"/>
                    </a:cubicBezTo>
                    <a:cubicBezTo>
                      <a:pt x="2925966" y="2068049"/>
                      <a:pt x="2854447" y="3566308"/>
                      <a:pt x="2912962" y="4477373"/>
                    </a:cubicBezTo>
                    <a:cubicBezTo>
                      <a:pt x="3003172" y="5450611"/>
                      <a:pt x="2556993" y="7076874"/>
                      <a:pt x="3747212" y="8537340"/>
                    </a:cubicBezTo>
                    <a:cubicBezTo>
                      <a:pt x="4523354" y="10017720"/>
                      <a:pt x="4824464" y="11730537"/>
                      <a:pt x="4044258" y="13140209"/>
                    </a:cubicBezTo>
                    <a:cubicBezTo>
                      <a:pt x="3244956" y="14538096"/>
                      <a:pt x="1780851" y="15082215"/>
                      <a:pt x="61151" y="15072869"/>
                    </a:cubicBezTo>
                  </a:path>
                </a:pathLst>
              </a:custGeom>
              <a:noFill/>
              <a:ln w="19050" cap="flat">
                <a:solidFill>
                  <a:srgbClr val="D7E5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949BCB97-0F5E-6D95-925A-9E5449374005}"/>
                  </a:ext>
                </a:extLst>
              </p:cNvPr>
              <p:cNvSpPr/>
              <p:nvPr/>
            </p:nvSpPr>
            <p:spPr>
              <a:xfrm rot="4500000">
                <a:off x="3408228" y="-2508853"/>
                <a:ext cx="4214169" cy="13470514"/>
              </a:xfrm>
              <a:custGeom>
                <a:avLst/>
                <a:gdLst>
                  <a:gd name="connsiteX0" fmla="*/ 216801 w 17377497"/>
                  <a:gd name="connsiteY0" fmla="*/ 4112665 h 15537093"/>
                  <a:gd name="connsiteX1" fmla="*/ 7861997 w 17377497"/>
                  <a:gd name="connsiteY1" fmla="*/ 682 h 15537093"/>
                  <a:gd name="connsiteX2" fmla="*/ 14800132 w 17377497"/>
                  <a:gd name="connsiteY2" fmla="*/ 2022742 h 15537093"/>
                  <a:gd name="connsiteX3" fmla="*/ 15994008 w 17377497"/>
                  <a:gd name="connsiteY3" fmla="*/ 5174491 h 15537093"/>
                  <a:gd name="connsiteX4" fmla="*/ 16805504 w 17377497"/>
                  <a:gd name="connsiteY4" fmla="*/ 9021931 h 15537093"/>
                  <a:gd name="connsiteX5" fmla="*/ 16870926 w 17377497"/>
                  <a:gd name="connsiteY5" fmla="*/ 13519145 h 15537093"/>
                  <a:gd name="connsiteX6" fmla="*/ 13163328 w 17377497"/>
                  <a:gd name="connsiteY6" fmla="*/ 15493254 h 15537093"/>
                  <a:gd name="connsiteX7" fmla="*/ 12214485 w 17377497"/>
                  <a:gd name="connsiteY7" fmla="*/ 15536735 h 15537093"/>
                  <a:gd name="connsiteX8" fmla="*/ 7072041 w 17377497"/>
                  <a:gd name="connsiteY8" fmla="*/ 14472472 h 15537093"/>
                  <a:gd name="connsiteX9" fmla="*/ 3268947 w 17377497"/>
                  <a:gd name="connsiteY9" fmla="*/ 12224067 h 15537093"/>
                  <a:gd name="connsiteX10" fmla="*/ 732468 w 17377497"/>
                  <a:gd name="connsiteY10" fmla="*/ 8546893 h 15537093"/>
                  <a:gd name="connsiteX11" fmla="*/ 216395 w 17377497"/>
                  <a:gd name="connsiteY11" fmla="*/ 4113071 h 15537093"/>
                  <a:gd name="connsiteX0" fmla="*/ 12214485 w 17377497"/>
                  <a:gd name="connsiteY0" fmla="*/ 15536735 h 15745351"/>
                  <a:gd name="connsiteX1" fmla="*/ 7072041 w 17377497"/>
                  <a:gd name="connsiteY1" fmla="*/ 14472472 h 15745351"/>
                  <a:gd name="connsiteX2" fmla="*/ 3268947 w 17377497"/>
                  <a:gd name="connsiteY2" fmla="*/ 12224067 h 15745351"/>
                  <a:gd name="connsiteX3" fmla="*/ 732468 w 17377497"/>
                  <a:gd name="connsiteY3" fmla="*/ 8546893 h 15745351"/>
                  <a:gd name="connsiteX4" fmla="*/ 216395 w 17377497"/>
                  <a:gd name="connsiteY4" fmla="*/ 4113071 h 15745351"/>
                  <a:gd name="connsiteX5" fmla="*/ 216801 w 17377497"/>
                  <a:gd name="connsiteY5" fmla="*/ 4112665 h 15745351"/>
                  <a:gd name="connsiteX6" fmla="*/ 7861997 w 17377497"/>
                  <a:gd name="connsiteY6" fmla="*/ 682 h 15745351"/>
                  <a:gd name="connsiteX7" fmla="*/ 14800132 w 17377497"/>
                  <a:gd name="connsiteY7" fmla="*/ 2022742 h 15745351"/>
                  <a:gd name="connsiteX8" fmla="*/ 15994008 w 17377497"/>
                  <a:gd name="connsiteY8" fmla="*/ 5174491 h 15745351"/>
                  <a:gd name="connsiteX9" fmla="*/ 16805504 w 17377497"/>
                  <a:gd name="connsiteY9" fmla="*/ 9021931 h 15745351"/>
                  <a:gd name="connsiteX10" fmla="*/ 16870926 w 17377497"/>
                  <a:gd name="connsiteY10" fmla="*/ 13519145 h 15745351"/>
                  <a:gd name="connsiteX11" fmla="*/ 13163328 w 17377497"/>
                  <a:gd name="connsiteY11" fmla="*/ 15493254 h 15745351"/>
                  <a:gd name="connsiteX12" fmla="*/ 12423101 w 17377497"/>
                  <a:gd name="connsiteY12" fmla="*/ 15745351 h 15745351"/>
                  <a:gd name="connsiteX0" fmla="*/ 12214485 w 17377497"/>
                  <a:gd name="connsiteY0" fmla="*/ 15536735 h 15537093"/>
                  <a:gd name="connsiteX1" fmla="*/ 7072041 w 17377497"/>
                  <a:gd name="connsiteY1" fmla="*/ 14472472 h 15537093"/>
                  <a:gd name="connsiteX2" fmla="*/ 3268947 w 17377497"/>
                  <a:gd name="connsiteY2" fmla="*/ 12224067 h 15537093"/>
                  <a:gd name="connsiteX3" fmla="*/ 732468 w 17377497"/>
                  <a:gd name="connsiteY3" fmla="*/ 8546893 h 15537093"/>
                  <a:gd name="connsiteX4" fmla="*/ 216395 w 17377497"/>
                  <a:gd name="connsiteY4" fmla="*/ 4113071 h 15537093"/>
                  <a:gd name="connsiteX5" fmla="*/ 216801 w 17377497"/>
                  <a:gd name="connsiteY5" fmla="*/ 4112665 h 15537093"/>
                  <a:gd name="connsiteX6" fmla="*/ 7861997 w 17377497"/>
                  <a:gd name="connsiteY6" fmla="*/ 682 h 15537093"/>
                  <a:gd name="connsiteX7" fmla="*/ 14800132 w 17377497"/>
                  <a:gd name="connsiteY7" fmla="*/ 2022742 h 15537093"/>
                  <a:gd name="connsiteX8" fmla="*/ 15994008 w 17377497"/>
                  <a:gd name="connsiteY8" fmla="*/ 5174491 h 15537093"/>
                  <a:gd name="connsiteX9" fmla="*/ 16805504 w 17377497"/>
                  <a:gd name="connsiteY9" fmla="*/ 9021931 h 15537093"/>
                  <a:gd name="connsiteX10" fmla="*/ 16870926 w 17377497"/>
                  <a:gd name="connsiteY10" fmla="*/ 13519145 h 15537093"/>
                  <a:gd name="connsiteX11" fmla="*/ 13163328 w 17377497"/>
                  <a:gd name="connsiteY11" fmla="*/ 15493254 h 15537093"/>
                  <a:gd name="connsiteX0" fmla="*/ 7072041 w 17377497"/>
                  <a:gd name="connsiteY0" fmla="*/ 14472472 h 15493255"/>
                  <a:gd name="connsiteX1" fmla="*/ 3268947 w 17377497"/>
                  <a:gd name="connsiteY1" fmla="*/ 12224067 h 15493255"/>
                  <a:gd name="connsiteX2" fmla="*/ 732468 w 17377497"/>
                  <a:gd name="connsiteY2" fmla="*/ 8546893 h 15493255"/>
                  <a:gd name="connsiteX3" fmla="*/ 216395 w 17377497"/>
                  <a:gd name="connsiteY3" fmla="*/ 4113071 h 15493255"/>
                  <a:gd name="connsiteX4" fmla="*/ 216801 w 17377497"/>
                  <a:gd name="connsiteY4" fmla="*/ 4112665 h 15493255"/>
                  <a:gd name="connsiteX5" fmla="*/ 7861997 w 17377497"/>
                  <a:gd name="connsiteY5" fmla="*/ 682 h 15493255"/>
                  <a:gd name="connsiteX6" fmla="*/ 14800132 w 17377497"/>
                  <a:gd name="connsiteY6" fmla="*/ 2022742 h 15493255"/>
                  <a:gd name="connsiteX7" fmla="*/ 15994008 w 17377497"/>
                  <a:gd name="connsiteY7" fmla="*/ 5174491 h 15493255"/>
                  <a:gd name="connsiteX8" fmla="*/ 16805504 w 17377497"/>
                  <a:gd name="connsiteY8" fmla="*/ 9021931 h 15493255"/>
                  <a:gd name="connsiteX9" fmla="*/ 16870926 w 17377497"/>
                  <a:gd name="connsiteY9" fmla="*/ 13519145 h 15493255"/>
                  <a:gd name="connsiteX10" fmla="*/ 13163328 w 17377497"/>
                  <a:gd name="connsiteY10" fmla="*/ 15493254 h 15493255"/>
                  <a:gd name="connsiteX0" fmla="*/ 3268947 w 17377497"/>
                  <a:gd name="connsiteY0" fmla="*/ 12224067 h 15493255"/>
                  <a:gd name="connsiteX1" fmla="*/ 732468 w 17377497"/>
                  <a:gd name="connsiteY1" fmla="*/ 8546893 h 15493255"/>
                  <a:gd name="connsiteX2" fmla="*/ 216395 w 17377497"/>
                  <a:gd name="connsiteY2" fmla="*/ 4113071 h 15493255"/>
                  <a:gd name="connsiteX3" fmla="*/ 216801 w 17377497"/>
                  <a:gd name="connsiteY3" fmla="*/ 4112665 h 15493255"/>
                  <a:gd name="connsiteX4" fmla="*/ 7861997 w 17377497"/>
                  <a:gd name="connsiteY4" fmla="*/ 682 h 15493255"/>
                  <a:gd name="connsiteX5" fmla="*/ 14800132 w 17377497"/>
                  <a:gd name="connsiteY5" fmla="*/ 2022742 h 15493255"/>
                  <a:gd name="connsiteX6" fmla="*/ 15994008 w 17377497"/>
                  <a:gd name="connsiteY6" fmla="*/ 5174491 h 15493255"/>
                  <a:gd name="connsiteX7" fmla="*/ 16805504 w 17377497"/>
                  <a:gd name="connsiteY7" fmla="*/ 9021931 h 15493255"/>
                  <a:gd name="connsiteX8" fmla="*/ 16870926 w 17377497"/>
                  <a:gd name="connsiteY8" fmla="*/ 13519145 h 15493255"/>
                  <a:gd name="connsiteX9" fmla="*/ 13163328 w 17377497"/>
                  <a:gd name="connsiteY9" fmla="*/ 15493254 h 15493255"/>
                  <a:gd name="connsiteX0" fmla="*/ 732468 w 17377497"/>
                  <a:gd name="connsiteY0" fmla="*/ 8546893 h 15493255"/>
                  <a:gd name="connsiteX1" fmla="*/ 216395 w 17377497"/>
                  <a:gd name="connsiteY1" fmla="*/ 4113071 h 15493255"/>
                  <a:gd name="connsiteX2" fmla="*/ 216801 w 17377497"/>
                  <a:gd name="connsiteY2" fmla="*/ 4112665 h 15493255"/>
                  <a:gd name="connsiteX3" fmla="*/ 7861997 w 17377497"/>
                  <a:gd name="connsiteY3" fmla="*/ 682 h 15493255"/>
                  <a:gd name="connsiteX4" fmla="*/ 14800132 w 17377497"/>
                  <a:gd name="connsiteY4" fmla="*/ 2022742 h 15493255"/>
                  <a:gd name="connsiteX5" fmla="*/ 15994008 w 17377497"/>
                  <a:gd name="connsiteY5" fmla="*/ 5174491 h 15493255"/>
                  <a:gd name="connsiteX6" fmla="*/ 16805504 w 17377497"/>
                  <a:gd name="connsiteY6" fmla="*/ 9021931 h 15493255"/>
                  <a:gd name="connsiteX7" fmla="*/ 16870926 w 17377497"/>
                  <a:gd name="connsiteY7" fmla="*/ 13519145 h 15493255"/>
                  <a:gd name="connsiteX8" fmla="*/ 13163328 w 17377497"/>
                  <a:gd name="connsiteY8" fmla="*/ 15493254 h 15493255"/>
                  <a:gd name="connsiteX0" fmla="*/ -1 w 17161101"/>
                  <a:gd name="connsiteY0" fmla="*/ 4113071 h 15493255"/>
                  <a:gd name="connsiteX1" fmla="*/ 405 w 17161101"/>
                  <a:gd name="connsiteY1" fmla="*/ 4112665 h 15493255"/>
                  <a:gd name="connsiteX2" fmla="*/ 7645601 w 17161101"/>
                  <a:gd name="connsiteY2" fmla="*/ 682 h 15493255"/>
                  <a:gd name="connsiteX3" fmla="*/ 14583736 w 17161101"/>
                  <a:gd name="connsiteY3" fmla="*/ 2022742 h 15493255"/>
                  <a:gd name="connsiteX4" fmla="*/ 15777612 w 17161101"/>
                  <a:gd name="connsiteY4" fmla="*/ 5174491 h 15493255"/>
                  <a:gd name="connsiteX5" fmla="*/ 16589108 w 17161101"/>
                  <a:gd name="connsiteY5" fmla="*/ 9021931 h 15493255"/>
                  <a:gd name="connsiteX6" fmla="*/ 16654530 w 17161101"/>
                  <a:gd name="connsiteY6" fmla="*/ 13519145 h 15493255"/>
                  <a:gd name="connsiteX7" fmla="*/ 12946932 w 17161101"/>
                  <a:gd name="connsiteY7" fmla="*/ 15493254 h 15493255"/>
                  <a:gd name="connsiteX0" fmla="*/ -1 w 17161101"/>
                  <a:gd name="connsiteY0" fmla="*/ 4113071 h 15493255"/>
                  <a:gd name="connsiteX1" fmla="*/ 7645601 w 17161101"/>
                  <a:gd name="connsiteY1" fmla="*/ 682 h 15493255"/>
                  <a:gd name="connsiteX2" fmla="*/ 14583736 w 17161101"/>
                  <a:gd name="connsiteY2" fmla="*/ 2022742 h 15493255"/>
                  <a:gd name="connsiteX3" fmla="*/ 15777612 w 17161101"/>
                  <a:gd name="connsiteY3" fmla="*/ 5174491 h 15493255"/>
                  <a:gd name="connsiteX4" fmla="*/ 16589108 w 17161101"/>
                  <a:gd name="connsiteY4" fmla="*/ 9021931 h 15493255"/>
                  <a:gd name="connsiteX5" fmla="*/ 16654530 w 17161101"/>
                  <a:gd name="connsiteY5" fmla="*/ 13519145 h 15493255"/>
                  <a:gd name="connsiteX6" fmla="*/ 12946932 w 17161101"/>
                  <a:gd name="connsiteY6" fmla="*/ 15493254 h 15493255"/>
                  <a:gd name="connsiteX0" fmla="*/ 0 w 9515500"/>
                  <a:gd name="connsiteY0" fmla="*/ 682 h 15493255"/>
                  <a:gd name="connsiteX1" fmla="*/ 6938135 w 9515500"/>
                  <a:gd name="connsiteY1" fmla="*/ 2022742 h 15493255"/>
                  <a:gd name="connsiteX2" fmla="*/ 8132011 w 9515500"/>
                  <a:gd name="connsiteY2" fmla="*/ 5174491 h 15493255"/>
                  <a:gd name="connsiteX3" fmla="*/ 8943507 w 9515500"/>
                  <a:gd name="connsiteY3" fmla="*/ 9021931 h 15493255"/>
                  <a:gd name="connsiteX4" fmla="*/ 9008929 w 9515500"/>
                  <a:gd name="connsiteY4" fmla="*/ 13519145 h 15493255"/>
                  <a:gd name="connsiteX5" fmla="*/ 5301331 w 9515500"/>
                  <a:gd name="connsiteY5" fmla="*/ 15493254 h 15493255"/>
                  <a:gd name="connsiteX0" fmla="*/ 1636804 w 4214169"/>
                  <a:gd name="connsiteY0" fmla="*/ 1 h 13470514"/>
                  <a:gd name="connsiteX1" fmla="*/ 2830680 w 4214169"/>
                  <a:gd name="connsiteY1" fmla="*/ 3151750 h 13470514"/>
                  <a:gd name="connsiteX2" fmla="*/ 3642176 w 4214169"/>
                  <a:gd name="connsiteY2" fmla="*/ 6999190 h 13470514"/>
                  <a:gd name="connsiteX3" fmla="*/ 3707598 w 4214169"/>
                  <a:gd name="connsiteY3" fmla="*/ 11496404 h 13470514"/>
                  <a:gd name="connsiteX4" fmla="*/ 0 w 4214169"/>
                  <a:gd name="connsiteY4" fmla="*/ 13470513 h 13470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14169" h="13470514">
                    <a:moveTo>
                      <a:pt x="1636804" y="1"/>
                    </a:moveTo>
                    <a:cubicBezTo>
                      <a:pt x="2692520" y="905784"/>
                      <a:pt x="2718932" y="2267504"/>
                      <a:pt x="2830680" y="3151750"/>
                    </a:cubicBezTo>
                    <a:cubicBezTo>
                      <a:pt x="2977377" y="4105076"/>
                      <a:pt x="2647413" y="5617963"/>
                      <a:pt x="3642176" y="6999190"/>
                    </a:cubicBezTo>
                    <a:cubicBezTo>
                      <a:pt x="4298036" y="8486070"/>
                      <a:pt x="4479270" y="10137934"/>
                      <a:pt x="3707598" y="11496404"/>
                    </a:cubicBezTo>
                    <a:cubicBezTo>
                      <a:pt x="2941617" y="12812205"/>
                      <a:pt x="1587229" y="13388834"/>
                      <a:pt x="0" y="13470513"/>
                    </a:cubicBezTo>
                  </a:path>
                </a:pathLst>
              </a:custGeom>
              <a:noFill/>
              <a:ln w="19050" cap="flat">
                <a:solidFill>
                  <a:srgbClr val="C4E4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C2ED58B6-C8E7-5F63-290D-3A9A54138B3C}"/>
                  </a:ext>
                </a:extLst>
              </p:cNvPr>
              <p:cNvSpPr/>
              <p:nvPr/>
            </p:nvSpPr>
            <p:spPr>
              <a:xfrm rot="4500000">
                <a:off x="3911505" y="-3378594"/>
                <a:ext cx="4604652" cy="14265493"/>
              </a:xfrm>
              <a:custGeom>
                <a:avLst/>
                <a:gdLst>
                  <a:gd name="connsiteX0" fmla="*/ 243321 w 16583913"/>
                  <a:gd name="connsiteY0" fmla="*/ 4186049 h 15077995"/>
                  <a:gd name="connsiteX1" fmla="*/ 7596347 w 16583913"/>
                  <a:gd name="connsiteY1" fmla="*/ 1733 h 15077995"/>
                  <a:gd name="connsiteX2" fmla="*/ 14133815 w 16583913"/>
                  <a:gd name="connsiteY2" fmla="*/ 1989659 h 15077995"/>
                  <a:gd name="connsiteX3" fmla="*/ 15390269 w 16583913"/>
                  <a:gd name="connsiteY3" fmla="*/ 4910593 h 15077995"/>
                  <a:gd name="connsiteX4" fmla="*/ 16179009 w 16583913"/>
                  <a:gd name="connsiteY4" fmla="*/ 8545912 h 15077995"/>
                  <a:gd name="connsiteX5" fmla="*/ 16013215 w 16583913"/>
                  <a:gd name="connsiteY5" fmla="*/ 12937065 h 15077995"/>
                  <a:gd name="connsiteX6" fmla="*/ 12580718 w 16583913"/>
                  <a:gd name="connsiteY6" fmla="*/ 14952218 h 15077995"/>
                  <a:gd name="connsiteX7" fmla="*/ 11698112 w 16583913"/>
                  <a:gd name="connsiteY7" fmla="*/ 15050557 h 15077995"/>
                  <a:gd name="connsiteX8" fmla="*/ 6819393 w 16583913"/>
                  <a:gd name="connsiteY8" fmla="*/ 14317073 h 15077995"/>
                  <a:gd name="connsiteX9" fmla="*/ 3034179 w 16583913"/>
                  <a:gd name="connsiteY9" fmla="*/ 12166602 h 15077995"/>
                  <a:gd name="connsiteX10" fmla="*/ 593601 w 16583913"/>
                  <a:gd name="connsiteY10" fmla="*/ 8503244 h 15077995"/>
                  <a:gd name="connsiteX11" fmla="*/ 243321 w 16583913"/>
                  <a:gd name="connsiteY11" fmla="*/ 4185642 h 15077995"/>
                  <a:gd name="connsiteX0" fmla="*/ 11698112 w 16583913"/>
                  <a:gd name="connsiteY0" fmla="*/ 15050557 h 15259172"/>
                  <a:gd name="connsiteX1" fmla="*/ 6819393 w 16583913"/>
                  <a:gd name="connsiteY1" fmla="*/ 14317073 h 15259172"/>
                  <a:gd name="connsiteX2" fmla="*/ 3034179 w 16583913"/>
                  <a:gd name="connsiteY2" fmla="*/ 12166602 h 15259172"/>
                  <a:gd name="connsiteX3" fmla="*/ 593601 w 16583913"/>
                  <a:gd name="connsiteY3" fmla="*/ 8503244 h 15259172"/>
                  <a:gd name="connsiteX4" fmla="*/ 243321 w 16583913"/>
                  <a:gd name="connsiteY4" fmla="*/ 4185642 h 15259172"/>
                  <a:gd name="connsiteX5" fmla="*/ 243321 w 16583913"/>
                  <a:gd name="connsiteY5" fmla="*/ 4186049 h 15259172"/>
                  <a:gd name="connsiteX6" fmla="*/ 7596347 w 16583913"/>
                  <a:gd name="connsiteY6" fmla="*/ 1733 h 15259172"/>
                  <a:gd name="connsiteX7" fmla="*/ 14133815 w 16583913"/>
                  <a:gd name="connsiteY7" fmla="*/ 1989659 h 15259172"/>
                  <a:gd name="connsiteX8" fmla="*/ 15390269 w 16583913"/>
                  <a:gd name="connsiteY8" fmla="*/ 4910593 h 15259172"/>
                  <a:gd name="connsiteX9" fmla="*/ 16179009 w 16583913"/>
                  <a:gd name="connsiteY9" fmla="*/ 8545912 h 15259172"/>
                  <a:gd name="connsiteX10" fmla="*/ 16013215 w 16583913"/>
                  <a:gd name="connsiteY10" fmla="*/ 12937065 h 15259172"/>
                  <a:gd name="connsiteX11" fmla="*/ 12580718 w 16583913"/>
                  <a:gd name="connsiteY11" fmla="*/ 14952218 h 15259172"/>
                  <a:gd name="connsiteX12" fmla="*/ 11906728 w 16583913"/>
                  <a:gd name="connsiteY12" fmla="*/ 15259173 h 15259172"/>
                  <a:gd name="connsiteX0" fmla="*/ 11698112 w 16583913"/>
                  <a:gd name="connsiteY0" fmla="*/ 15050557 h 15077995"/>
                  <a:gd name="connsiteX1" fmla="*/ 6819393 w 16583913"/>
                  <a:gd name="connsiteY1" fmla="*/ 14317073 h 15077995"/>
                  <a:gd name="connsiteX2" fmla="*/ 3034179 w 16583913"/>
                  <a:gd name="connsiteY2" fmla="*/ 12166602 h 15077995"/>
                  <a:gd name="connsiteX3" fmla="*/ 593601 w 16583913"/>
                  <a:gd name="connsiteY3" fmla="*/ 8503244 h 15077995"/>
                  <a:gd name="connsiteX4" fmla="*/ 243321 w 16583913"/>
                  <a:gd name="connsiteY4" fmla="*/ 4185642 h 15077995"/>
                  <a:gd name="connsiteX5" fmla="*/ 243321 w 16583913"/>
                  <a:gd name="connsiteY5" fmla="*/ 4186049 h 15077995"/>
                  <a:gd name="connsiteX6" fmla="*/ 7596347 w 16583913"/>
                  <a:gd name="connsiteY6" fmla="*/ 1733 h 15077995"/>
                  <a:gd name="connsiteX7" fmla="*/ 14133815 w 16583913"/>
                  <a:gd name="connsiteY7" fmla="*/ 1989659 h 15077995"/>
                  <a:gd name="connsiteX8" fmla="*/ 15390269 w 16583913"/>
                  <a:gd name="connsiteY8" fmla="*/ 4910593 h 15077995"/>
                  <a:gd name="connsiteX9" fmla="*/ 16179009 w 16583913"/>
                  <a:gd name="connsiteY9" fmla="*/ 8545912 h 15077995"/>
                  <a:gd name="connsiteX10" fmla="*/ 16013215 w 16583913"/>
                  <a:gd name="connsiteY10" fmla="*/ 12937065 h 15077995"/>
                  <a:gd name="connsiteX11" fmla="*/ 12580718 w 16583913"/>
                  <a:gd name="connsiteY11" fmla="*/ 14952218 h 15077995"/>
                  <a:gd name="connsiteX0" fmla="*/ 6819393 w 16583913"/>
                  <a:gd name="connsiteY0" fmla="*/ 14317073 h 14952218"/>
                  <a:gd name="connsiteX1" fmla="*/ 3034179 w 16583913"/>
                  <a:gd name="connsiteY1" fmla="*/ 12166602 h 14952218"/>
                  <a:gd name="connsiteX2" fmla="*/ 593601 w 16583913"/>
                  <a:gd name="connsiteY2" fmla="*/ 8503244 h 14952218"/>
                  <a:gd name="connsiteX3" fmla="*/ 243321 w 16583913"/>
                  <a:gd name="connsiteY3" fmla="*/ 4185642 h 14952218"/>
                  <a:gd name="connsiteX4" fmla="*/ 243321 w 16583913"/>
                  <a:gd name="connsiteY4" fmla="*/ 4186049 h 14952218"/>
                  <a:gd name="connsiteX5" fmla="*/ 7596347 w 16583913"/>
                  <a:gd name="connsiteY5" fmla="*/ 1733 h 14952218"/>
                  <a:gd name="connsiteX6" fmla="*/ 14133815 w 16583913"/>
                  <a:gd name="connsiteY6" fmla="*/ 1989659 h 14952218"/>
                  <a:gd name="connsiteX7" fmla="*/ 15390269 w 16583913"/>
                  <a:gd name="connsiteY7" fmla="*/ 4910593 h 14952218"/>
                  <a:gd name="connsiteX8" fmla="*/ 16179009 w 16583913"/>
                  <a:gd name="connsiteY8" fmla="*/ 8545912 h 14952218"/>
                  <a:gd name="connsiteX9" fmla="*/ 16013215 w 16583913"/>
                  <a:gd name="connsiteY9" fmla="*/ 12937065 h 14952218"/>
                  <a:gd name="connsiteX10" fmla="*/ 12580718 w 16583913"/>
                  <a:gd name="connsiteY10" fmla="*/ 14952218 h 14952218"/>
                  <a:gd name="connsiteX0" fmla="*/ 3034179 w 16583913"/>
                  <a:gd name="connsiteY0" fmla="*/ 12166602 h 14952218"/>
                  <a:gd name="connsiteX1" fmla="*/ 593601 w 16583913"/>
                  <a:gd name="connsiteY1" fmla="*/ 8503244 h 14952218"/>
                  <a:gd name="connsiteX2" fmla="*/ 243321 w 16583913"/>
                  <a:gd name="connsiteY2" fmla="*/ 4185642 h 14952218"/>
                  <a:gd name="connsiteX3" fmla="*/ 243321 w 16583913"/>
                  <a:gd name="connsiteY3" fmla="*/ 4186049 h 14952218"/>
                  <a:gd name="connsiteX4" fmla="*/ 7596347 w 16583913"/>
                  <a:gd name="connsiteY4" fmla="*/ 1733 h 14952218"/>
                  <a:gd name="connsiteX5" fmla="*/ 14133815 w 16583913"/>
                  <a:gd name="connsiteY5" fmla="*/ 1989659 h 14952218"/>
                  <a:gd name="connsiteX6" fmla="*/ 15390269 w 16583913"/>
                  <a:gd name="connsiteY6" fmla="*/ 4910593 h 14952218"/>
                  <a:gd name="connsiteX7" fmla="*/ 16179009 w 16583913"/>
                  <a:gd name="connsiteY7" fmla="*/ 8545912 h 14952218"/>
                  <a:gd name="connsiteX8" fmla="*/ 16013215 w 16583913"/>
                  <a:gd name="connsiteY8" fmla="*/ 12937065 h 14952218"/>
                  <a:gd name="connsiteX9" fmla="*/ 12580718 w 16583913"/>
                  <a:gd name="connsiteY9" fmla="*/ 14952218 h 14952218"/>
                  <a:gd name="connsiteX0" fmla="*/ 593601 w 16583913"/>
                  <a:gd name="connsiteY0" fmla="*/ 8503244 h 14952218"/>
                  <a:gd name="connsiteX1" fmla="*/ 243321 w 16583913"/>
                  <a:gd name="connsiteY1" fmla="*/ 4185642 h 14952218"/>
                  <a:gd name="connsiteX2" fmla="*/ 243321 w 16583913"/>
                  <a:gd name="connsiteY2" fmla="*/ 4186049 h 14952218"/>
                  <a:gd name="connsiteX3" fmla="*/ 7596347 w 16583913"/>
                  <a:gd name="connsiteY3" fmla="*/ 1733 h 14952218"/>
                  <a:gd name="connsiteX4" fmla="*/ 14133815 w 16583913"/>
                  <a:gd name="connsiteY4" fmla="*/ 1989659 h 14952218"/>
                  <a:gd name="connsiteX5" fmla="*/ 15390269 w 16583913"/>
                  <a:gd name="connsiteY5" fmla="*/ 4910593 h 14952218"/>
                  <a:gd name="connsiteX6" fmla="*/ 16179009 w 16583913"/>
                  <a:gd name="connsiteY6" fmla="*/ 8545912 h 14952218"/>
                  <a:gd name="connsiteX7" fmla="*/ 16013215 w 16583913"/>
                  <a:gd name="connsiteY7" fmla="*/ 12937065 h 14952218"/>
                  <a:gd name="connsiteX8" fmla="*/ 12580718 w 16583913"/>
                  <a:gd name="connsiteY8" fmla="*/ 14952218 h 14952218"/>
                  <a:gd name="connsiteX0" fmla="*/ -1 w 16340591"/>
                  <a:gd name="connsiteY0" fmla="*/ 4185642 h 14952218"/>
                  <a:gd name="connsiteX1" fmla="*/ -1 w 16340591"/>
                  <a:gd name="connsiteY1" fmla="*/ 4186049 h 14952218"/>
                  <a:gd name="connsiteX2" fmla="*/ 7353025 w 16340591"/>
                  <a:gd name="connsiteY2" fmla="*/ 1733 h 14952218"/>
                  <a:gd name="connsiteX3" fmla="*/ 13890493 w 16340591"/>
                  <a:gd name="connsiteY3" fmla="*/ 1989659 h 14952218"/>
                  <a:gd name="connsiteX4" fmla="*/ 15146947 w 16340591"/>
                  <a:gd name="connsiteY4" fmla="*/ 4910593 h 14952218"/>
                  <a:gd name="connsiteX5" fmla="*/ 15935687 w 16340591"/>
                  <a:gd name="connsiteY5" fmla="*/ 8545912 h 14952218"/>
                  <a:gd name="connsiteX6" fmla="*/ 15769893 w 16340591"/>
                  <a:gd name="connsiteY6" fmla="*/ 12937065 h 14952218"/>
                  <a:gd name="connsiteX7" fmla="*/ 12337396 w 16340591"/>
                  <a:gd name="connsiteY7" fmla="*/ 14952218 h 14952218"/>
                  <a:gd name="connsiteX0" fmla="*/ -1 w 16340591"/>
                  <a:gd name="connsiteY0" fmla="*/ 4185642 h 14952218"/>
                  <a:gd name="connsiteX1" fmla="*/ 7353025 w 16340591"/>
                  <a:gd name="connsiteY1" fmla="*/ 1733 h 14952218"/>
                  <a:gd name="connsiteX2" fmla="*/ 13890493 w 16340591"/>
                  <a:gd name="connsiteY2" fmla="*/ 1989659 h 14952218"/>
                  <a:gd name="connsiteX3" fmla="*/ 15146947 w 16340591"/>
                  <a:gd name="connsiteY3" fmla="*/ 4910593 h 14952218"/>
                  <a:gd name="connsiteX4" fmla="*/ 15935687 w 16340591"/>
                  <a:gd name="connsiteY4" fmla="*/ 8545912 h 14952218"/>
                  <a:gd name="connsiteX5" fmla="*/ 15769893 w 16340591"/>
                  <a:gd name="connsiteY5" fmla="*/ 12937065 h 14952218"/>
                  <a:gd name="connsiteX6" fmla="*/ 12337396 w 16340591"/>
                  <a:gd name="connsiteY6" fmla="*/ 14952218 h 14952218"/>
                  <a:gd name="connsiteX0" fmla="*/ 1 w 8987567"/>
                  <a:gd name="connsiteY0" fmla="*/ 1733 h 14952218"/>
                  <a:gd name="connsiteX1" fmla="*/ 6537469 w 8987567"/>
                  <a:gd name="connsiteY1" fmla="*/ 1989659 h 14952218"/>
                  <a:gd name="connsiteX2" fmla="*/ 7793923 w 8987567"/>
                  <a:gd name="connsiteY2" fmla="*/ 4910593 h 14952218"/>
                  <a:gd name="connsiteX3" fmla="*/ 8582663 w 8987567"/>
                  <a:gd name="connsiteY3" fmla="*/ 8545912 h 14952218"/>
                  <a:gd name="connsiteX4" fmla="*/ 8416869 w 8987567"/>
                  <a:gd name="connsiteY4" fmla="*/ 12937065 h 14952218"/>
                  <a:gd name="connsiteX5" fmla="*/ 4984372 w 8987567"/>
                  <a:gd name="connsiteY5" fmla="*/ 14952218 h 14952218"/>
                  <a:gd name="connsiteX0" fmla="*/ 1 w 8987567"/>
                  <a:gd name="connsiteY0" fmla="*/ 1 h 14950486"/>
                  <a:gd name="connsiteX1" fmla="*/ 4382915 w 8987567"/>
                  <a:gd name="connsiteY1" fmla="*/ 684994 h 14950486"/>
                  <a:gd name="connsiteX2" fmla="*/ 6537469 w 8987567"/>
                  <a:gd name="connsiteY2" fmla="*/ 1987927 h 14950486"/>
                  <a:gd name="connsiteX3" fmla="*/ 7793923 w 8987567"/>
                  <a:gd name="connsiteY3" fmla="*/ 4908861 h 14950486"/>
                  <a:gd name="connsiteX4" fmla="*/ 8582663 w 8987567"/>
                  <a:gd name="connsiteY4" fmla="*/ 8544180 h 14950486"/>
                  <a:gd name="connsiteX5" fmla="*/ 8416869 w 8987567"/>
                  <a:gd name="connsiteY5" fmla="*/ 12935333 h 14950486"/>
                  <a:gd name="connsiteX6" fmla="*/ 4984372 w 8987567"/>
                  <a:gd name="connsiteY6" fmla="*/ 14950486 h 14950486"/>
                  <a:gd name="connsiteX0" fmla="*/ 0 w 4604652"/>
                  <a:gd name="connsiteY0" fmla="*/ 0 h 14265492"/>
                  <a:gd name="connsiteX1" fmla="*/ 2154554 w 4604652"/>
                  <a:gd name="connsiteY1" fmla="*/ 1302933 h 14265492"/>
                  <a:gd name="connsiteX2" fmla="*/ 3411008 w 4604652"/>
                  <a:gd name="connsiteY2" fmla="*/ 4223867 h 14265492"/>
                  <a:gd name="connsiteX3" fmla="*/ 4199748 w 4604652"/>
                  <a:gd name="connsiteY3" fmla="*/ 7859186 h 14265492"/>
                  <a:gd name="connsiteX4" fmla="*/ 4033954 w 4604652"/>
                  <a:gd name="connsiteY4" fmla="*/ 12250339 h 14265492"/>
                  <a:gd name="connsiteX5" fmla="*/ 601457 w 4604652"/>
                  <a:gd name="connsiteY5" fmla="*/ 14265492 h 14265492"/>
                  <a:gd name="connsiteX0" fmla="*/ 0 w 4604652"/>
                  <a:gd name="connsiteY0" fmla="*/ 0 h 14265492"/>
                  <a:gd name="connsiteX1" fmla="*/ 2154554 w 4604652"/>
                  <a:gd name="connsiteY1" fmla="*/ 1302933 h 14265492"/>
                  <a:gd name="connsiteX2" fmla="*/ 3411008 w 4604652"/>
                  <a:gd name="connsiteY2" fmla="*/ 4223867 h 14265492"/>
                  <a:gd name="connsiteX3" fmla="*/ 4199748 w 4604652"/>
                  <a:gd name="connsiteY3" fmla="*/ 7859186 h 14265492"/>
                  <a:gd name="connsiteX4" fmla="*/ 4033954 w 4604652"/>
                  <a:gd name="connsiteY4" fmla="*/ 12250339 h 14265492"/>
                  <a:gd name="connsiteX5" fmla="*/ 601457 w 4604652"/>
                  <a:gd name="connsiteY5" fmla="*/ 14265492 h 14265492"/>
                  <a:gd name="connsiteX0" fmla="*/ 0 w 4604652"/>
                  <a:gd name="connsiteY0" fmla="*/ 0 h 14265492"/>
                  <a:gd name="connsiteX1" fmla="*/ 2154554 w 4604652"/>
                  <a:gd name="connsiteY1" fmla="*/ 1302933 h 14265492"/>
                  <a:gd name="connsiteX2" fmla="*/ 3411008 w 4604652"/>
                  <a:gd name="connsiteY2" fmla="*/ 4223867 h 14265492"/>
                  <a:gd name="connsiteX3" fmla="*/ 4199748 w 4604652"/>
                  <a:gd name="connsiteY3" fmla="*/ 7859186 h 14265492"/>
                  <a:gd name="connsiteX4" fmla="*/ 4033954 w 4604652"/>
                  <a:gd name="connsiteY4" fmla="*/ 12250339 h 14265492"/>
                  <a:gd name="connsiteX5" fmla="*/ 601457 w 4604652"/>
                  <a:gd name="connsiteY5" fmla="*/ 14265492 h 14265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04652" h="14265492">
                    <a:moveTo>
                      <a:pt x="0" y="0"/>
                    </a:moveTo>
                    <a:cubicBezTo>
                      <a:pt x="1061166" y="548515"/>
                      <a:pt x="1521918" y="715506"/>
                      <a:pt x="2154554" y="1302933"/>
                    </a:cubicBezTo>
                    <a:cubicBezTo>
                      <a:pt x="3122089" y="2142072"/>
                      <a:pt x="3246027" y="3366849"/>
                      <a:pt x="3411008" y="4223867"/>
                    </a:cubicBezTo>
                    <a:cubicBezTo>
                      <a:pt x="3614593" y="5157282"/>
                      <a:pt x="3400849" y="6556795"/>
                      <a:pt x="4199748" y="7859186"/>
                    </a:cubicBezTo>
                    <a:cubicBezTo>
                      <a:pt x="4735326" y="9352163"/>
                      <a:pt x="4797090" y="10943072"/>
                      <a:pt x="4033954" y="12250339"/>
                    </a:cubicBezTo>
                    <a:cubicBezTo>
                      <a:pt x="3301698" y="13484057"/>
                      <a:pt x="2056620" y="14093600"/>
                      <a:pt x="601457" y="14265492"/>
                    </a:cubicBezTo>
                  </a:path>
                </a:pathLst>
              </a:custGeom>
              <a:noFill/>
              <a:ln w="19050" cap="flat">
                <a:solidFill>
                  <a:srgbClr val="B1E3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D0B557FA-B266-B057-68F0-E7A613182622}"/>
                  </a:ext>
                </a:extLst>
              </p:cNvPr>
              <p:cNvSpPr/>
              <p:nvPr/>
            </p:nvSpPr>
            <p:spPr>
              <a:xfrm rot="4500000">
                <a:off x="3881039" y="-3505542"/>
                <a:ext cx="4978112" cy="13922862"/>
              </a:xfrm>
              <a:custGeom>
                <a:avLst/>
                <a:gdLst>
                  <a:gd name="connsiteX0" fmla="*/ 277661 w 15816946"/>
                  <a:gd name="connsiteY0" fmla="*/ 4259865 h 14668302"/>
                  <a:gd name="connsiteX1" fmla="*/ 7338517 w 15816946"/>
                  <a:gd name="connsiteY1" fmla="*/ 3217 h 14668302"/>
                  <a:gd name="connsiteX2" fmla="*/ 13474909 w 15816946"/>
                  <a:gd name="connsiteY2" fmla="*/ 1956602 h 14668302"/>
                  <a:gd name="connsiteX3" fmla="*/ 14793944 w 15816946"/>
                  <a:gd name="connsiteY3" fmla="*/ 4647128 h 14668302"/>
                  <a:gd name="connsiteX4" fmla="*/ 15559925 w 15816946"/>
                  <a:gd name="connsiteY4" fmla="*/ 8069920 h 14668302"/>
                  <a:gd name="connsiteX5" fmla="*/ 15162510 w 15816946"/>
                  <a:gd name="connsiteY5" fmla="*/ 12355420 h 14668302"/>
                  <a:gd name="connsiteX6" fmla="*/ 12005524 w 15816946"/>
                  <a:gd name="connsiteY6" fmla="*/ 14412020 h 14668302"/>
                  <a:gd name="connsiteX7" fmla="*/ 11189153 w 15816946"/>
                  <a:gd name="connsiteY7" fmla="*/ 14565625 h 14668302"/>
                  <a:gd name="connsiteX8" fmla="*/ 6574160 w 15816946"/>
                  <a:gd name="connsiteY8" fmla="*/ 14162919 h 14668302"/>
                  <a:gd name="connsiteX9" fmla="*/ 2806420 w 15816946"/>
                  <a:gd name="connsiteY9" fmla="*/ 12110789 h 14668302"/>
                  <a:gd name="connsiteX10" fmla="*/ 461741 w 15816946"/>
                  <a:gd name="connsiteY10" fmla="*/ 8461247 h 14668302"/>
                  <a:gd name="connsiteX11" fmla="*/ 277255 w 15816946"/>
                  <a:gd name="connsiteY11" fmla="*/ 4259865 h 14668302"/>
                  <a:gd name="connsiteX0" fmla="*/ 11189153 w 15816946"/>
                  <a:gd name="connsiteY0" fmla="*/ 14565625 h 14774241"/>
                  <a:gd name="connsiteX1" fmla="*/ 6574160 w 15816946"/>
                  <a:gd name="connsiteY1" fmla="*/ 14162919 h 14774241"/>
                  <a:gd name="connsiteX2" fmla="*/ 2806420 w 15816946"/>
                  <a:gd name="connsiteY2" fmla="*/ 12110789 h 14774241"/>
                  <a:gd name="connsiteX3" fmla="*/ 461741 w 15816946"/>
                  <a:gd name="connsiteY3" fmla="*/ 8461247 h 14774241"/>
                  <a:gd name="connsiteX4" fmla="*/ 277255 w 15816946"/>
                  <a:gd name="connsiteY4" fmla="*/ 4259865 h 14774241"/>
                  <a:gd name="connsiteX5" fmla="*/ 277661 w 15816946"/>
                  <a:gd name="connsiteY5" fmla="*/ 4259865 h 14774241"/>
                  <a:gd name="connsiteX6" fmla="*/ 7338517 w 15816946"/>
                  <a:gd name="connsiteY6" fmla="*/ 3217 h 14774241"/>
                  <a:gd name="connsiteX7" fmla="*/ 13474909 w 15816946"/>
                  <a:gd name="connsiteY7" fmla="*/ 1956602 h 14774241"/>
                  <a:gd name="connsiteX8" fmla="*/ 14793944 w 15816946"/>
                  <a:gd name="connsiteY8" fmla="*/ 4647128 h 14774241"/>
                  <a:gd name="connsiteX9" fmla="*/ 15559925 w 15816946"/>
                  <a:gd name="connsiteY9" fmla="*/ 8069920 h 14774241"/>
                  <a:gd name="connsiteX10" fmla="*/ 15162510 w 15816946"/>
                  <a:gd name="connsiteY10" fmla="*/ 12355420 h 14774241"/>
                  <a:gd name="connsiteX11" fmla="*/ 12005524 w 15816946"/>
                  <a:gd name="connsiteY11" fmla="*/ 14412020 h 14774241"/>
                  <a:gd name="connsiteX12" fmla="*/ 11397769 w 15816946"/>
                  <a:gd name="connsiteY12" fmla="*/ 14774241 h 14774241"/>
                  <a:gd name="connsiteX0" fmla="*/ 11189153 w 15816946"/>
                  <a:gd name="connsiteY0" fmla="*/ 14565625 h 14668302"/>
                  <a:gd name="connsiteX1" fmla="*/ 6574160 w 15816946"/>
                  <a:gd name="connsiteY1" fmla="*/ 14162919 h 14668302"/>
                  <a:gd name="connsiteX2" fmla="*/ 2806420 w 15816946"/>
                  <a:gd name="connsiteY2" fmla="*/ 12110789 h 14668302"/>
                  <a:gd name="connsiteX3" fmla="*/ 461741 w 15816946"/>
                  <a:gd name="connsiteY3" fmla="*/ 8461247 h 14668302"/>
                  <a:gd name="connsiteX4" fmla="*/ 277255 w 15816946"/>
                  <a:gd name="connsiteY4" fmla="*/ 4259865 h 14668302"/>
                  <a:gd name="connsiteX5" fmla="*/ 277661 w 15816946"/>
                  <a:gd name="connsiteY5" fmla="*/ 4259865 h 14668302"/>
                  <a:gd name="connsiteX6" fmla="*/ 7338517 w 15816946"/>
                  <a:gd name="connsiteY6" fmla="*/ 3217 h 14668302"/>
                  <a:gd name="connsiteX7" fmla="*/ 13474909 w 15816946"/>
                  <a:gd name="connsiteY7" fmla="*/ 1956602 h 14668302"/>
                  <a:gd name="connsiteX8" fmla="*/ 14793944 w 15816946"/>
                  <a:gd name="connsiteY8" fmla="*/ 4647128 h 14668302"/>
                  <a:gd name="connsiteX9" fmla="*/ 15559925 w 15816946"/>
                  <a:gd name="connsiteY9" fmla="*/ 8069920 h 14668302"/>
                  <a:gd name="connsiteX10" fmla="*/ 15162510 w 15816946"/>
                  <a:gd name="connsiteY10" fmla="*/ 12355420 h 14668302"/>
                  <a:gd name="connsiteX11" fmla="*/ 12005524 w 15816946"/>
                  <a:gd name="connsiteY11" fmla="*/ 14412020 h 14668302"/>
                  <a:gd name="connsiteX0" fmla="*/ 6574160 w 15816946"/>
                  <a:gd name="connsiteY0" fmla="*/ 14162919 h 14412019"/>
                  <a:gd name="connsiteX1" fmla="*/ 2806420 w 15816946"/>
                  <a:gd name="connsiteY1" fmla="*/ 12110789 h 14412019"/>
                  <a:gd name="connsiteX2" fmla="*/ 461741 w 15816946"/>
                  <a:gd name="connsiteY2" fmla="*/ 8461247 h 14412019"/>
                  <a:gd name="connsiteX3" fmla="*/ 277255 w 15816946"/>
                  <a:gd name="connsiteY3" fmla="*/ 4259865 h 14412019"/>
                  <a:gd name="connsiteX4" fmla="*/ 277661 w 15816946"/>
                  <a:gd name="connsiteY4" fmla="*/ 4259865 h 14412019"/>
                  <a:gd name="connsiteX5" fmla="*/ 7338517 w 15816946"/>
                  <a:gd name="connsiteY5" fmla="*/ 3217 h 14412019"/>
                  <a:gd name="connsiteX6" fmla="*/ 13474909 w 15816946"/>
                  <a:gd name="connsiteY6" fmla="*/ 1956602 h 14412019"/>
                  <a:gd name="connsiteX7" fmla="*/ 14793944 w 15816946"/>
                  <a:gd name="connsiteY7" fmla="*/ 4647128 h 14412019"/>
                  <a:gd name="connsiteX8" fmla="*/ 15559925 w 15816946"/>
                  <a:gd name="connsiteY8" fmla="*/ 8069920 h 14412019"/>
                  <a:gd name="connsiteX9" fmla="*/ 15162510 w 15816946"/>
                  <a:gd name="connsiteY9" fmla="*/ 12355420 h 14412019"/>
                  <a:gd name="connsiteX10" fmla="*/ 12005524 w 15816946"/>
                  <a:gd name="connsiteY10" fmla="*/ 14412020 h 14412019"/>
                  <a:gd name="connsiteX0" fmla="*/ 2806420 w 15816946"/>
                  <a:gd name="connsiteY0" fmla="*/ 12110789 h 14412019"/>
                  <a:gd name="connsiteX1" fmla="*/ 461741 w 15816946"/>
                  <a:gd name="connsiteY1" fmla="*/ 8461247 h 14412019"/>
                  <a:gd name="connsiteX2" fmla="*/ 277255 w 15816946"/>
                  <a:gd name="connsiteY2" fmla="*/ 4259865 h 14412019"/>
                  <a:gd name="connsiteX3" fmla="*/ 277661 w 15816946"/>
                  <a:gd name="connsiteY3" fmla="*/ 4259865 h 14412019"/>
                  <a:gd name="connsiteX4" fmla="*/ 7338517 w 15816946"/>
                  <a:gd name="connsiteY4" fmla="*/ 3217 h 14412019"/>
                  <a:gd name="connsiteX5" fmla="*/ 13474909 w 15816946"/>
                  <a:gd name="connsiteY5" fmla="*/ 1956602 h 14412019"/>
                  <a:gd name="connsiteX6" fmla="*/ 14793944 w 15816946"/>
                  <a:gd name="connsiteY6" fmla="*/ 4647128 h 14412019"/>
                  <a:gd name="connsiteX7" fmla="*/ 15559925 w 15816946"/>
                  <a:gd name="connsiteY7" fmla="*/ 8069920 h 14412019"/>
                  <a:gd name="connsiteX8" fmla="*/ 15162510 w 15816946"/>
                  <a:gd name="connsiteY8" fmla="*/ 12355420 h 14412019"/>
                  <a:gd name="connsiteX9" fmla="*/ 12005524 w 15816946"/>
                  <a:gd name="connsiteY9" fmla="*/ 14412020 h 14412019"/>
                  <a:gd name="connsiteX0" fmla="*/ 461741 w 15816946"/>
                  <a:gd name="connsiteY0" fmla="*/ 8461247 h 14412019"/>
                  <a:gd name="connsiteX1" fmla="*/ 277255 w 15816946"/>
                  <a:gd name="connsiteY1" fmla="*/ 4259865 h 14412019"/>
                  <a:gd name="connsiteX2" fmla="*/ 277661 w 15816946"/>
                  <a:gd name="connsiteY2" fmla="*/ 4259865 h 14412019"/>
                  <a:gd name="connsiteX3" fmla="*/ 7338517 w 15816946"/>
                  <a:gd name="connsiteY3" fmla="*/ 3217 h 14412019"/>
                  <a:gd name="connsiteX4" fmla="*/ 13474909 w 15816946"/>
                  <a:gd name="connsiteY4" fmla="*/ 1956602 h 14412019"/>
                  <a:gd name="connsiteX5" fmla="*/ 14793944 w 15816946"/>
                  <a:gd name="connsiteY5" fmla="*/ 4647128 h 14412019"/>
                  <a:gd name="connsiteX6" fmla="*/ 15559925 w 15816946"/>
                  <a:gd name="connsiteY6" fmla="*/ 8069920 h 14412019"/>
                  <a:gd name="connsiteX7" fmla="*/ 15162510 w 15816946"/>
                  <a:gd name="connsiteY7" fmla="*/ 12355420 h 14412019"/>
                  <a:gd name="connsiteX8" fmla="*/ 12005524 w 15816946"/>
                  <a:gd name="connsiteY8" fmla="*/ 14412020 h 14412019"/>
                  <a:gd name="connsiteX0" fmla="*/ 1 w 15539692"/>
                  <a:gd name="connsiteY0" fmla="*/ 4259865 h 14412019"/>
                  <a:gd name="connsiteX1" fmla="*/ 407 w 15539692"/>
                  <a:gd name="connsiteY1" fmla="*/ 4259865 h 14412019"/>
                  <a:gd name="connsiteX2" fmla="*/ 7061263 w 15539692"/>
                  <a:gd name="connsiteY2" fmla="*/ 3217 h 14412019"/>
                  <a:gd name="connsiteX3" fmla="*/ 13197655 w 15539692"/>
                  <a:gd name="connsiteY3" fmla="*/ 1956602 h 14412019"/>
                  <a:gd name="connsiteX4" fmla="*/ 14516690 w 15539692"/>
                  <a:gd name="connsiteY4" fmla="*/ 4647128 h 14412019"/>
                  <a:gd name="connsiteX5" fmla="*/ 15282671 w 15539692"/>
                  <a:gd name="connsiteY5" fmla="*/ 8069920 h 14412019"/>
                  <a:gd name="connsiteX6" fmla="*/ 14885256 w 15539692"/>
                  <a:gd name="connsiteY6" fmla="*/ 12355420 h 14412019"/>
                  <a:gd name="connsiteX7" fmla="*/ 11728270 w 15539692"/>
                  <a:gd name="connsiteY7" fmla="*/ 14412020 h 14412019"/>
                  <a:gd name="connsiteX0" fmla="*/ 1 w 15539692"/>
                  <a:gd name="connsiteY0" fmla="*/ 4259865 h 14412019"/>
                  <a:gd name="connsiteX1" fmla="*/ 7061263 w 15539692"/>
                  <a:gd name="connsiteY1" fmla="*/ 3217 h 14412019"/>
                  <a:gd name="connsiteX2" fmla="*/ 13197655 w 15539692"/>
                  <a:gd name="connsiteY2" fmla="*/ 1956602 h 14412019"/>
                  <a:gd name="connsiteX3" fmla="*/ 14516690 w 15539692"/>
                  <a:gd name="connsiteY3" fmla="*/ 4647128 h 14412019"/>
                  <a:gd name="connsiteX4" fmla="*/ 15282671 w 15539692"/>
                  <a:gd name="connsiteY4" fmla="*/ 8069920 h 14412019"/>
                  <a:gd name="connsiteX5" fmla="*/ 14885256 w 15539692"/>
                  <a:gd name="connsiteY5" fmla="*/ 12355420 h 14412019"/>
                  <a:gd name="connsiteX6" fmla="*/ 11728270 w 15539692"/>
                  <a:gd name="connsiteY6" fmla="*/ 14412020 h 14412019"/>
                  <a:gd name="connsiteX0" fmla="*/ 1 w 8478430"/>
                  <a:gd name="connsiteY0" fmla="*/ 3217 h 14412019"/>
                  <a:gd name="connsiteX1" fmla="*/ 6136393 w 8478430"/>
                  <a:gd name="connsiteY1" fmla="*/ 1956602 h 14412019"/>
                  <a:gd name="connsiteX2" fmla="*/ 7455428 w 8478430"/>
                  <a:gd name="connsiteY2" fmla="*/ 4647128 h 14412019"/>
                  <a:gd name="connsiteX3" fmla="*/ 8221409 w 8478430"/>
                  <a:gd name="connsiteY3" fmla="*/ 8069920 h 14412019"/>
                  <a:gd name="connsiteX4" fmla="*/ 7823994 w 8478430"/>
                  <a:gd name="connsiteY4" fmla="*/ 12355420 h 14412019"/>
                  <a:gd name="connsiteX5" fmla="*/ 4667008 w 8478430"/>
                  <a:gd name="connsiteY5" fmla="*/ 14412020 h 14412019"/>
                  <a:gd name="connsiteX0" fmla="*/ 1 w 8478430"/>
                  <a:gd name="connsiteY0" fmla="*/ 0 h 14408802"/>
                  <a:gd name="connsiteX1" fmla="*/ 3500318 w 8478430"/>
                  <a:gd name="connsiteY1" fmla="*/ 485939 h 14408802"/>
                  <a:gd name="connsiteX2" fmla="*/ 6136393 w 8478430"/>
                  <a:gd name="connsiteY2" fmla="*/ 1953385 h 14408802"/>
                  <a:gd name="connsiteX3" fmla="*/ 7455428 w 8478430"/>
                  <a:gd name="connsiteY3" fmla="*/ 4643911 h 14408802"/>
                  <a:gd name="connsiteX4" fmla="*/ 8221409 w 8478430"/>
                  <a:gd name="connsiteY4" fmla="*/ 8066703 h 14408802"/>
                  <a:gd name="connsiteX5" fmla="*/ 7823994 w 8478430"/>
                  <a:gd name="connsiteY5" fmla="*/ 12352203 h 14408802"/>
                  <a:gd name="connsiteX6" fmla="*/ 4667008 w 8478430"/>
                  <a:gd name="connsiteY6" fmla="*/ 14408803 h 14408802"/>
                  <a:gd name="connsiteX0" fmla="*/ 0 w 4978112"/>
                  <a:gd name="connsiteY0" fmla="*/ -1 h 13922862"/>
                  <a:gd name="connsiteX1" fmla="*/ 2636075 w 4978112"/>
                  <a:gd name="connsiteY1" fmla="*/ 1467445 h 13922862"/>
                  <a:gd name="connsiteX2" fmla="*/ 3955110 w 4978112"/>
                  <a:gd name="connsiteY2" fmla="*/ 4157971 h 13922862"/>
                  <a:gd name="connsiteX3" fmla="*/ 4721091 w 4978112"/>
                  <a:gd name="connsiteY3" fmla="*/ 7580763 h 13922862"/>
                  <a:gd name="connsiteX4" fmla="*/ 4323676 w 4978112"/>
                  <a:gd name="connsiteY4" fmla="*/ 11866263 h 13922862"/>
                  <a:gd name="connsiteX5" fmla="*/ 1166690 w 4978112"/>
                  <a:gd name="connsiteY5" fmla="*/ 13922863 h 13922862"/>
                  <a:gd name="connsiteX0" fmla="*/ 0 w 4978112"/>
                  <a:gd name="connsiteY0" fmla="*/ -1 h 13922862"/>
                  <a:gd name="connsiteX1" fmla="*/ 2636075 w 4978112"/>
                  <a:gd name="connsiteY1" fmla="*/ 1467445 h 13922862"/>
                  <a:gd name="connsiteX2" fmla="*/ 3955110 w 4978112"/>
                  <a:gd name="connsiteY2" fmla="*/ 4157971 h 13922862"/>
                  <a:gd name="connsiteX3" fmla="*/ 4721091 w 4978112"/>
                  <a:gd name="connsiteY3" fmla="*/ 7580763 h 13922862"/>
                  <a:gd name="connsiteX4" fmla="*/ 4323676 w 4978112"/>
                  <a:gd name="connsiteY4" fmla="*/ 11866263 h 13922862"/>
                  <a:gd name="connsiteX5" fmla="*/ 1166690 w 4978112"/>
                  <a:gd name="connsiteY5" fmla="*/ 13922863 h 13922862"/>
                  <a:gd name="connsiteX0" fmla="*/ 0 w 4978112"/>
                  <a:gd name="connsiteY0" fmla="*/ -1 h 13922862"/>
                  <a:gd name="connsiteX1" fmla="*/ 2636075 w 4978112"/>
                  <a:gd name="connsiteY1" fmla="*/ 1467445 h 13922862"/>
                  <a:gd name="connsiteX2" fmla="*/ 3955110 w 4978112"/>
                  <a:gd name="connsiteY2" fmla="*/ 4157971 h 13922862"/>
                  <a:gd name="connsiteX3" fmla="*/ 4721091 w 4978112"/>
                  <a:gd name="connsiteY3" fmla="*/ 7580763 h 13922862"/>
                  <a:gd name="connsiteX4" fmla="*/ 4323676 w 4978112"/>
                  <a:gd name="connsiteY4" fmla="*/ 11866263 h 13922862"/>
                  <a:gd name="connsiteX5" fmla="*/ 1166690 w 4978112"/>
                  <a:gd name="connsiteY5" fmla="*/ 13922863 h 1392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78112" h="13922862">
                    <a:moveTo>
                      <a:pt x="0" y="-1"/>
                    </a:moveTo>
                    <a:cubicBezTo>
                      <a:pt x="1059237" y="406389"/>
                      <a:pt x="1818363" y="768199"/>
                      <a:pt x="2636075" y="1467445"/>
                    </a:cubicBezTo>
                    <a:cubicBezTo>
                      <a:pt x="3515432" y="2239534"/>
                      <a:pt x="3737303" y="3327773"/>
                      <a:pt x="3955110" y="4157971"/>
                    </a:cubicBezTo>
                    <a:cubicBezTo>
                      <a:pt x="4215179" y="5071475"/>
                      <a:pt x="4117653" y="6357612"/>
                      <a:pt x="4721091" y="7580763"/>
                    </a:cubicBezTo>
                    <a:cubicBezTo>
                      <a:pt x="5136796" y="9080241"/>
                      <a:pt x="5078281" y="10610196"/>
                      <a:pt x="4323676" y="11866263"/>
                    </a:cubicBezTo>
                    <a:cubicBezTo>
                      <a:pt x="3624742" y="13017894"/>
                      <a:pt x="2489381" y="13659946"/>
                      <a:pt x="1166690" y="13922863"/>
                    </a:cubicBezTo>
                  </a:path>
                </a:pathLst>
              </a:custGeom>
              <a:noFill/>
              <a:ln w="19050" cap="flat">
                <a:solidFill>
                  <a:srgbClr val="9DE3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450464CF-CC9A-E034-0E25-6E4191A782BA}"/>
                  </a:ext>
                </a:extLst>
              </p:cNvPr>
              <p:cNvSpPr/>
              <p:nvPr/>
            </p:nvSpPr>
            <p:spPr>
              <a:xfrm rot="4500000">
                <a:off x="4142414" y="-1755606"/>
                <a:ext cx="3645548" cy="11947871"/>
              </a:xfrm>
              <a:custGeom>
                <a:avLst/>
                <a:gdLst>
                  <a:gd name="connsiteX0" fmla="*/ 321274 w 15085961"/>
                  <a:gd name="connsiteY0" fmla="*/ 4334076 h 14311572"/>
                  <a:gd name="connsiteX1" fmla="*/ 7089959 w 15085961"/>
                  <a:gd name="connsiteY1" fmla="*/ 5095 h 14311572"/>
                  <a:gd name="connsiteX2" fmla="*/ 12825279 w 15085961"/>
                  <a:gd name="connsiteY2" fmla="*/ 1924345 h 14311572"/>
                  <a:gd name="connsiteX3" fmla="*/ 14207298 w 15085961"/>
                  <a:gd name="connsiteY3" fmla="*/ 4384464 h 14311572"/>
                  <a:gd name="connsiteX4" fmla="*/ 14950524 w 15085961"/>
                  <a:gd name="connsiteY4" fmla="*/ 7595135 h 14311572"/>
                  <a:gd name="connsiteX5" fmla="*/ 14321891 w 15085961"/>
                  <a:gd name="connsiteY5" fmla="*/ 11774573 h 14311572"/>
                  <a:gd name="connsiteX6" fmla="*/ 11440414 w 15085961"/>
                  <a:gd name="connsiteY6" fmla="*/ 13872216 h 14311572"/>
                  <a:gd name="connsiteX7" fmla="*/ 10689874 w 15085961"/>
                  <a:gd name="connsiteY7" fmla="*/ 14080681 h 14311572"/>
                  <a:gd name="connsiteX8" fmla="*/ 6338606 w 15085961"/>
                  <a:gd name="connsiteY8" fmla="*/ 14008755 h 14311572"/>
                  <a:gd name="connsiteX9" fmla="*/ 2588339 w 15085961"/>
                  <a:gd name="connsiteY9" fmla="*/ 12054963 h 14311572"/>
                  <a:gd name="connsiteX10" fmla="*/ 339560 w 15085961"/>
                  <a:gd name="connsiteY10" fmla="*/ 8419237 h 14311572"/>
                  <a:gd name="connsiteX11" fmla="*/ 321274 w 15085961"/>
                  <a:gd name="connsiteY11" fmla="*/ 4334076 h 14311572"/>
                  <a:gd name="connsiteX0" fmla="*/ 10689874 w 15085961"/>
                  <a:gd name="connsiteY0" fmla="*/ 14080681 h 14311572"/>
                  <a:gd name="connsiteX1" fmla="*/ 6338606 w 15085961"/>
                  <a:gd name="connsiteY1" fmla="*/ 14008755 h 14311572"/>
                  <a:gd name="connsiteX2" fmla="*/ 2588339 w 15085961"/>
                  <a:gd name="connsiteY2" fmla="*/ 12054963 h 14311572"/>
                  <a:gd name="connsiteX3" fmla="*/ 339560 w 15085961"/>
                  <a:gd name="connsiteY3" fmla="*/ 8419237 h 14311572"/>
                  <a:gd name="connsiteX4" fmla="*/ 321274 w 15085961"/>
                  <a:gd name="connsiteY4" fmla="*/ 4334076 h 14311572"/>
                  <a:gd name="connsiteX5" fmla="*/ 7089959 w 15085961"/>
                  <a:gd name="connsiteY5" fmla="*/ 5095 h 14311572"/>
                  <a:gd name="connsiteX6" fmla="*/ 12825279 w 15085961"/>
                  <a:gd name="connsiteY6" fmla="*/ 1924345 h 14311572"/>
                  <a:gd name="connsiteX7" fmla="*/ 14207298 w 15085961"/>
                  <a:gd name="connsiteY7" fmla="*/ 4384464 h 14311572"/>
                  <a:gd name="connsiteX8" fmla="*/ 14950524 w 15085961"/>
                  <a:gd name="connsiteY8" fmla="*/ 7595135 h 14311572"/>
                  <a:gd name="connsiteX9" fmla="*/ 14321891 w 15085961"/>
                  <a:gd name="connsiteY9" fmla="*/ 11774573 h 14311572"/>
                  <a:gd name="connsiteX10" fmla="*/ 11440414 w 15085961"/>
                  <a:gd name="connsiteY10" fmla="*/ 13872216 h 14311572"/>
                  <a:gd name="connsiteX11" fmla="*/ 10898490 w 15085961"/>
                  <a:gd name="connsiteY11" fmla="*/ 14289297 h 14311572"/>
                  <a:gd name="connsiteX0" fmla="*/ 10689874 w 15085961"/>
                  <a:gd name="connsiteY0" fmla="*/ 14080681 h 14311572"/>
                  <a:gd name="connsiteX1" fmla="*/ 6338606 w 15085961"/>
                  <a:gd name="connsiteY1" fmla="*/ 14008755 h 14311572"/>
                  <a:gd name="connsiteX2" fmla="*/ 2588339 w 15085961"/>
                  <a:gd name="connsiteY2" fmla="*/ 12054963 h 14311572"/>
                  <a:gd name="connsiteX3" fmla="*/ 339560 w 15085961"/>
                  <a:gd name="connsiteY3" fmla="*/ 8419237 h 14311572"/>
                  <a:gd name="connsiteX4" fmla="*/ 321274 w 15085961"/>
                  <a:gd name="connsiteY4" fmla="*/ 4334076 h 14311572"/>
                  <a:gd name="connsiteX5" fmla="*/ 7089959 w 15085961"/>
                  <a:gd name="connsiteY5" fmla="*/ 5095 h 14311572"/>
                  <a:gd name="connsiteX6" fmla="*/ 12825279 w 15085961"/>
                  <a:gd name="connsiteY6" fmla="*/ 1924345 h 14311572"/>
                  <a:gd name="connsiteX7" fmla="*/ 14207298 w 15085961"/>
                  <a:gd name="connsiteY7" fmla="*/ 4384464 h 14311572"/>
                  <a:gd name="connsiteX8" fmla="*/ 14950524 w 15085961"/>
                  <a:gd name="connsiteY8" fmla="*/ 7595135 h 14311572"/>
                  <a:gd name="connsiteX9" fmla="*/ 14321891 w 15085961"/>
                  <a:gd name="connsiteY9" fmla="*/ 11774573 h 14311572"/>
                  <a:gd name="connsiteX10" fmla="*/ 11440414 w 15085961"/>
                  <a:gd name="connsiteY10" fmla="*/ 13872216 h 14311572"/>
                  <a:gd name="connsiteX0" fmla="*/ 6338606 w 15085961"/>
                  <a:gd name="connsiteY0" fmla="*/ 14008755 h 14008754"/>
                  <a:gd name="connsiteX1" fmla="*/ 2588339 w 15085961"/>
                  <a:gd name="connsiteY1" fmla="*/ 12054963 h 14008754"/>
                  <a:gd name="connsiteX2" fmla="*/ 339560 w 15085961"/>
                  <a:gd name="connsiteY2" fmla="*/ 8419237 h 14008754"/>
                  <a:gd name="connsiteX3" fmla="*/ 321274 w 15085961"/>
                  <a:gd name="connsiteY3" fmla="*/ 4334076 h 14008754"/>
                  <a:gd name="connsiteX4" fmla="*/ 7089959 w 15085961"/>
                  <a:gd name="connsiteY4" fmla="*/ 5095 h 14008754"/>
                  <a:gd name="connsiteX5" fmla="*/ 12825279 w 15085961"/>
                  <a:gd name="connsiteY5" fmla="*/ 1924345 h 14008754"/>
                  <a:gd name="connsiteX6" fmla="*/ 14207298 w 15085961"/>
                  <a:gd name="connsiteY6" fmla="*/ 4384464 h 14008754"/>
                  <a:gd name="connsiteX7" fmla="*/ 14950524 w 15085961"/>
                  <a:gd name="connsiteY7" fmla="*/ 7595135 h 14008754"/>
                  <a:gd name="connsiteX8" fmla="*/ 14321891 w 15085961"/>
                  <a:gd name="connsiteY8" fmla="*/ 11774573 h 14008754"/>
                  <a:gd name="connsiteX9" fmla="*/ 11440414 w 15085961"/>
                  <a:gd name="connsiteY9" fmla="*/ 13872216 h 14008754"/>
                  <a:gd name="connsiteX0" fmla="*/ 2588339 w 15085961"/>
                  <a:gd name="connsiteY0" fmla="*/ 12054963 h 13872216"/>
                  <a:gd name="connsiteX1" fmla="*/ 339560 w 15085961"/>
                  <a:gd name="connsiteY1" fmla="*/ 8419237 h 13872216"/>
                  <a:gd name="connsiteX2" fmla="*/ 321274 w 15085961"/>
                  <a:gd name="connsiteY2" fmla="*/ 4334076 h 13872216"/>
                  <a:gd name="connsiteX3" fmla="*/ 7089959 w 15085961"/>
                  <a:gd name="connsiteY3" fmla="*/ 5095 h 13872216"/>
                  <a:gd name="connsiteX4" fmla="*/ 12825279 w 15085961"/>
                  <a:gd name="connsiteY4" fmla="*/ 1924345 h 13872216"/>
                  <a:gd name="connsiteX5" fmla="*/ 14207298 w 15085961"/>
                  <a:gd name="connsiteY5" fmla="*/ 4384464 h 13872216"/>
                  <a:gd name="connsiteX6" fmla="*/ 14950524 w 15085961"/>
                  <a:gd name="connsiteY6" fmla="*/ 7595135 h 13872216"/>
                  <a:gd name="connsiteX7" fmla="*/ 14321891 w 15085961"/>
                  <a:gd name="connsiteY7" fmla="*/ 11774573 h 13872216"/>
                  <a:gd name="connsiteX8" fmla="*/ 11440414 w 15085961"/>
                  <a:gd name="connsiteY8" fmla="*/ 13872216 h 13872216"/>
                  <a:gd name="connsiteX0" fmla="*/ 339560 w 15085961"/>
                  <a:gd name="connsiteY0" fmla="*/ 8419237 h 13872216"/>
                  <a:gd name="connsiteX1" fmla="*/ 321274 w 15085961"/>
                  <a:gd name="connsiteY1" fmla="*/ 4334076 h 13872216"/>
                  <a:gd name="connsiteX2" fmla="*/ 7089959 w 15085961"/>
                  <a:gd name="connsiteY2" fmla="*/ 5095 h 13872216"/>
                  <a:gd name="connsiteX3" fmla="*/ 12825279 w 15085961"/>
                  <a:gd name="connsiteY3" fmla="*/ 1924345 h 13872216"/>
                  <a:gd name="connsiteX4" fmla="*/ 14207298 w 15085961"/>
                  <a:gd name="connsiteY4" fmla="*/ 4384464 h 13872216"/>
                  <a:gd name="connsiteX5" fmla="*/ 14950524 w 15085961"/>
                  <a:gd name="connsiteY5" fmla="*/ 7595135 h 13872216"/>
                  <a:gd name="connsiteX6" fmla="*/ 14321891 w 15085961"/>
                  <a:gd name="connsiteY6" fmla="*/ 11774573 h 13872216"/>
                  <a:gd name="connsiteX7" fmla="*/ 11440414 w 15085961"/>
                  <a:gd name="connsiteY7" fmla="*/ 13872216 h 13872216"/>
                  <a:gd name="connsiteX0" fmla="*/ -1 w 14764686"/>
                  <a:gd name="connsiteY0" fmla="*/ 4334076 h 13872216"/>
                  <a:gd name="connsiteX1" fmla="*/ 6768684 w 14764686"/>
                  <a:gd name="connsiteY1" fmla="*/ 5095 h 13872216"/>
                  <a:gd name="connsiteX2" fmla="*/ 12504004 w 14764686"/>
                  <a:gd name="connsiteY2" fmla="*/ 1924345 h 13872216"/>
                  <a:gd name="connsiteX3" fmla="*/ 13886023 w 14764686"/>
                  <a:gd name="connsiteY3" fmla="*/ 4384464 h 13872216"/>
                  <a:gd name="connsiteX4" fmla="*/ 14629249 w 14764686"/>
                  <a:gd name="connsiteY4" fmla="*/ 7595135 h 13872216"/>
                  <a:gd name="connsiteX5" fmla="*/ 14000616 w 14764686"/>
                  <a:gd name="connsiteY5" fmla="*/ 11774573 h 13872216"/>
                  <a:gd name="connsiteX6" fmla="*/ 11119139 w 14764686"/>
                  <a:gd name="connsiteY6" fmla="*/ 13872216 h 13872216"/>
                  <a:gd name="connsiteX0" fmla="*/ 0 w 7996002"/>
                  <a:gd name="connsiteY0" fmla="*/ 5095 h 13872216"/>
                  <a:gd name="connsiteX1" fmla="*/ 5735320 w 7996002"/>
                  <a:gd name="connsiteY1" fmla="*/ 1924345 h 13872216"/>
                  <a:gd name="connsiteX2" fmla="*/ 7117339 w 7996002"/>
                  <a:gd name="connsiteY2" fmla="*/ 4384464 h 13872216"/>
                  <a:gd name="connsiteX3" fmla="*/ 7860565 w 7996002"/>
                  <a:gd name="connsiteY3" fmla="*/ 7595135 h 13872216"/>
                  <a:gd name="connsiteX4" fmla="*/ 7231932 w 7996002"/>
                  <a:gd name="connsiteY4" fmla="*/ 11774573 h 13872216"/>
                  <a:gd name="connsiteX5" fmla="*/ 4350455 w 7996002"/>
                  <a:gd name="connsiteY5" fmla="*/ 13872216 h 13872216"/>
                  <a:gd name="connsiteX0" fmla="*/ 1384866 w 3645548"/>
                  <a:gd name="connsiteY0" fmla="*/ 1 h 11947872"/>
                  <a:gd name="connsiteX1" fmla="*/ 2766885 w 3645548"/>
                  <a:gd name="connsiteY1" fmla="*/ 2460120 h 11947872"/>
                  <a:gd name="connsiteX2" fmla="*/ 3510111 w 3645548"/>
                  <a:gd name="connsiteY2" fmla="*/ 5670791 h 11947872"/>
                  <a:gd name="connsiteX3" fmla="*/ 2881478 w 3645548"/>
                  <a:gd name="connsiteY3" fmla="*/ 9850229 h 11947872"/>
                  <a:gd name="connsiteX4" fmla="*/ 1 w 3645548"/>
                  <a:gd name="connsiteY4" fmla="*/ 11947872 h 11947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45548" h="11947872">
                    <a:moveTo>
                      <a:pt x="1384866" y="1"/>
                    </a:moveTo>
                    <a:cubicBezTo>
                      <a:pt x="2176041" y="705040"/>
                      <a:pt x="2495439" y="1656742"/>
                      <a:pt x="2766885" y="2460120"/>
                    </a:cubicBezTo>
                    <a:cubicBezTo>
                      <a:pt x="3083436" y="3353712"/>
                      <a:pt x="3102536" y="4526474"/>
                      <a:pt x="3510111" y="5670791"/>
                    </a:cubicBezTo>
                    <a:cubicBezTo>
                      <a:pt x="3805533" y="7176770"/>
                      <a:pt x="3627142" y="8645771"/>
                      <a:pt x="2881478" y="9850229"/>
                    </a:cubicBezTo>
                    <a:cubicBezTo>
                      <a:pt x="2216272" y="10919776"/>
                      <a:pt x="1189815" y="11594743"/>
                      <a:pt x="1" y="11947872"/>
                    </a:cubicBezTo>
                  </a:path>
                </a:pathLst>
              </a:custGeom>
              <a:noFill/>
              <a:ln w="19050" cap="flat">
                <a:solidFill>
                  <a:srgbClr val="8AE2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14BDCF05-A3DF-257A-E4A9-C9C132C70B5F}"/>
                  </a:ext>
                </a:extLst>
              </p:cNvPr>
              <p:cNvSpPr>
                <a:spLocks/>
              </p:cNvSpPr>
              <p:nvPr/>
            </p:nvSpPr>
            <p:spPr>
              <a:xfrm rot="4500000">
                <a:off x="4297877" y="-3026614"/>
                <a:ext cx="4772528" cy="12938578"/>
              </a:xfrm>
              <a:custGeom>
                <a:avLst/>
                <a:gdLst>
                  <a:gd name="connsiteX0" fmla="*/ 378453 w 14403101"/>
                  <a:gd name="connsiteY0" fmla="*/ 4408592 h 14008706"/>
                  <a:gd name="connsiteX1" fmla="*/ 6854968 w 14403101"/>
                  <a:gd name="connsiteY1" fmla="*/ 7279 h 14008706"/>
                  <a:gd name="connsiteX2" fmla="*/ 12189212 w 14403101"/>
                  <a:gd name="connsiteY2" fmla="*/ 1891988 h 14008706"/>
                  <a:gd name="connsiteX3" fmla="*/ 13633812 w 14403101"/>
                  <a:gd name="connsiteY3" fmla="*/ 4121700 h 14008706"/>
                  <a:gd name="connsiteX4" fmla="*/ 14354282 w 14403101"/>
                  <a:gd name="connsiteY4" fmla="*/ 7119843 h 14008706"/>
                  <a:gd name="connsiteX5" fmla="*/ 13494430 w 14403101"/>
                  <a:gd name="connsiteY5" fmla="*/ 11193626 h 14008706"/>
                  <a:gd name="connsiteX6" fmla="*/ 10888059 w 14403101"/>
                  <a:gd name="connsiteY6" fmla="*/ 13332313 h 14008706"/>
                  <a:gd name="connsiteX7" fmla="*/ 10203754 w 14403101"/>
                  <a:gd name="connsiteY7" fmla="*/ 13595636 h 14008706"/>
                  <a:gd name="connsiteX8" fmla="*/ 6116211 w 14403101"/>
                  <a:gd name="connsiteY8" fmla="*/ 13854895 h 14008706"/>
                  <a:gd name="connsiteX9" fmla="*/ 2383419 w 14403101"/>
                  <a:gd name="connsiteY9" fmla="*/ 11999037 h 14008706"/>
                  <a:gd name="connsiteX10" fmla="*/ 230947 w 14403101"/>
                  <a:gd name="connsiteY10" fmla="*/ 8377128 h 14008706"/>
                  <a:gd name="connsiteX11" fmla="*/ 378453 w 14403101"/>
                  <a:gd name="connsiteY11" fmla="*/ 4408186 h 14008706"/>
                  <a:gd name="connsiteX0" fmla="*/ 10203754 w 14403101"/>
                  <a:gd name="connsiteY0" fmla="*/ 13595636 h 14008706"/>
                  <a:gd name="connsiteX1" fmla="*/ 6116211 w 14403101"/>
                  <a:gd name="connsiteY1" fmla="*/ 13854895 h 14008706"/>
                  <a:gd name="connsiteX2" fmla="*/ 2383419 w 14403101"/>
                  <a:gd name="connsiteY2" fmla="*/ 11999037 h 14008706"/>
                  <a:gd name="connsiteX3" fmla="*/ 230947 w 14403101"/>
                  <a:gd name="connsiteY3" fmla="*/ 8377128 h 14008706"/>
                  <a:gd name="connsiteX4" fmla="*/ 378453 w 14403101"/>
                  <a:gd name="connsiteY4" fmla="*/ 4408186 h 14008706"/>
                  <a:gd name="connsiteX5" fmla="*/ 378453 w 14403101"/>
                  <a:gd name="connsiteY5" fmla="*/ 4408592 h 14008706"/>
                  <a:gd name="connsiteX6" fmla="*/ 6854968 w 14403101"/>
                  <a:gd name="connsiteY6" fmla="*/ 7279 h 14008706"/>
                  <a:gd name="connsiteX7" fmla="*/ 12189212 w 14403101"/>
                  <a:gd name="connsiteY7" fmla="*/ 1891988 h 14008706"/>
                  <a:gd name="connsiteX8" fmla="*/ 13633812 w 14403101"/>
                  <a:gd name="connsiteY8" fmla="*/ 4121700 h 14008706"/>
                  <a:gd name="connsiteX9" fmla="*/ 14354282 w 14403101"/>
                  <a:gd name="connsiteY9" fmla="*/ 7119843 h 14008706"/>
                  <a:gd name="connsiteX10" fmla="*/ 13494430 w 14403101"/>
                  <a:gd name="connsiteY10" fmla="*/ 11193626 h 14008706"/>
                  <a:gd name="connsiteX11" fmla="*/ 10888059 w 14403101"/>
                  <a:gd name="connsiteY11" fmla="*/ 13332313 h 14008706"/>
                  <a:gd name="connsiteX12" fmla="*/ 10412370 w 14403101"/>
                  <a:gd name="connsiteY12" fmla="*/ 13804252 h 14008706"/>
                  <a:gd name="connsiteX0" fmla="*/ 10203754 w 14403101"/>
                  <a:gd name="connsiteY0" fmla="*/ 13595636 h 14008706"/>
                  <a:gd name="connsiteX1" fmla="*/ 6116211 w 14403101"/>
                  <a:gd name="connsiteY1" fmla="*/ 13854895 h 14008706"/>
                  <a:gd name="connsiteX2" fmla="*/ 2383419 w 14403101"/>
                  <a:gd name="connsiteY2" fmla="*/ 11999037 h 14008706"/>
                  <a:gd name="connsiteX3" fmla="*/ 230947 w 14403101"/>
                  <a:gd name="connsiteY3" fmla="*/ 8377128 h 14008706"/>
                  <a:gd name="connsiteX4" fmla="*/ 378453 w 14403101"/>
                  <a:gd name="connsiteY4" fmla="*/ 4408186 h 14008706"/>
                  <a:gd name="connsiteX5" fmla="*/ 378453 w 14403101"/>
                  <a:gd name="connsiteY5" fmla="*/ 4408592 h 14008706"/>
                  <a:gd name="connsiteX6" fmla="*/ 6854968 w 14403101"/>
                  <a:gd name="connsiteY6" fmla="*/ 7279 h 14008706"/>
                  <a:gd name="connsiteX7" fmla="*/ 12189212 w 14403101"/>
                  <a:gd name="connsiteY7" fmla="*/ 1891988 h 14008706"/>
                  <a:gd name="connsiteX8" fmla="*/ 13633812 w 14403101"/>
                  <a:gd name="connsiteY8" fmla="*/ 4121700 h 14008706"/>
                  <a:gd name="connsiteX9" fmla="*/ 14354282 w 14403101"/>
                  <a:gd name="connsiteY9" fmla="*/ 7119843 h 14008706"/>
                  <a:gd name="connsiteX10" fmla="*/ 13494430 w 14403101"/>
                  <a:gd name="connsiteY10" fmla="*/ 11193626 h 14008706"/>
                  <a:gd name="connsiteX11" fmla="*/ 10888059 w 14403101"/>
                  <a:gd name="connsiteY11" fmla="*/ 13332313 h 14008706"/>
                  <a:gd name="connsiteX0" fmla="*/ 6116211 w 14403101"/>
                  <a:gd name="connsiteY0" fmla="*/ 13854895 h 13854895"/>
                  <a:gd name="connsiteX1" fmla="*/ 2383419 w 14403101"/>
                  <a:gd name="connsiteY1" fmla="*/ 11999037 h 13854895"/>
                  <a:gd name="connsiteX2" fmla="*/ 230947 w 14403101"/>
                  <a:gd name="connsiteY2" fmla="*/ 8377128 h 13854895"/>
                  <a:gd name="connsiteX3" fmla="*/ 378453 w 14403101"/>
                  <a:gd name="connsiteY3" fmla="*/ 4408186 h 13854895"/>
                  <a:gd name="connsiteX4" fmla="*/ 378453 w 14403101"/>
                  <a:gd name="connsiteY4" fmla="*/ 4408592 h 13854895"/>
                  <a:gd name="connsiteX5" fmla="*/ 6854968 w 14403101"/>
                  <a:gd name="connsiteY5" fmla="*/ 7279 h 13854895"/>
                  <a:gd name="connsiteX6" fmla="*/ 12189212 w 14403101"/>
                  <a:gd name="connsiteY6" fmla="*/ 1891988 h 13854895"/>
                  <a:gd name="connsiteX7" fmla="*/ 13633812 w 14403101"/>
                  <a:gd name="connsiteY7" fmla="*/ 4121700 h 13854895"/>
                  <a:gd name="connsiteX8" fmla="*/ 14354282 w 14403101"/>
                  <a:gd name="connsiteY8" fmla="*/ 7119843 h 13854895"/>
                  <a:gd name="connsiteX9" fmla="*/ 13494430 w 14403101"/>
                  <a:gd name="connsiteY9" fmla="*/ 11193626 h 13854895"/>
                  <a:gd name="connsiteX10" fmla="*/ 10888059 w 14403101"/>
                  <a:gd name="connsiteY10" fmla="*/ 13332313 h 13854895"/>
                  <a:gd name="connsiteX0" fmla="*/ 2383419 w 14403101"/>
                  <a:gd name="connsiteY0" fmla="*/ 11999037 h 13332314"/>
                  <a:gd name="connsiteX1" fmla="*/ 230947 w 14403101"/>
                  <a:gd name="connsiteY1" fmla="*/ 8377128 h 13332314"/>
                  <a:gd name="connsiteX2" fmla="*/ 378453 w 14403101"/>
                  <a:gd name="connsiteY2" fmla="*/ 4408186 h 13332314"/>
                  <a:gd name="connsiteX3" fmla="*/ 378453 w 14403101"/>
                  <a:gd name="connsiteY3" fmla="*/ 4408592 h 13332314"/>
                  <a:gd name="connsiteX4" fmla="*/ 6854968 w 14403101"/>
                  <a:gd name="connsiteY4" fmla="*/ 7279 h 13332314"/>
                  <a:gd name="connsiteX5" fmla="*/ 12189212 w 14403101"/>
                  <a:gd name="connsiteY5" fmla="*/ 1891988 h 13332314"/>
                  <a:gd name="connsiteX6" fmla="*/ 13633812 w 14403101"/>
                  <a:gd name="connsiteY6" fmla="*/ 4121700 h 13332314"/>
                  <a:gd name="connsiteX7" fmla="*/ 14354282 w 14403101"/>
                  <a:gd name="connsiteY7" fmla="*/ 7119843 h 13332314"/>
                  <a:gd name="connsiteX8" fmla="*/ 13494430 w 14403101"/>
                  <a:gd name="connsiteY8" fmla="*/ 11193626 h 13332314"/>
                  <a:gd name="connsiteX9" fmla="*/ 10888059 w 14403101"/>
                  <a:gd name="connsiteY9" fmla="*/ 13332313 h 13332314"/>
                  <a:gd name="connsiteX0" fmla="*/ 230947 w 14403101"/>
                  <a:gd name="connsiteY0" fmla="*/ 8377128 h 13332314"/>
                  <a:gd name="connsiteX1" fmla="*/ 378453 w 14403101"/>
                  <a:gd name="connsiteY1" fmla="*/ 4408186 h 13332314"/>
                  <a:gd name="connsiteX2" fmla="*/ 378453 w 14403101"/>
                  <a:gd name="connsiteY2" fmla="*/ 4408592 h 13332314"/>
                  <a:gd name="connsiteX3" fmla="*/ 6854968 w 14403101"/>
                  <a:gd name="connsiteY3" fmla="*/ 7279 h 13332314"/>
                  <a:gd name="connsiteX4" fmla="*/ 12189212 w 14403101"/>
                  <a:gd name="connsiteY4" fmla="*/ 1891988 h 13332314"/>
                  <a:gd name="connsiteX5" fmla="*/ 13633812 w 14403101"/>
                  <a:gd name="connsiteY5" fmla="*/ 4121700 h 13332314"/>
                  <a:gd name="connsiteX6" fmla="*/ 14354282 w 14403101"/>
                  <a:gd name="connsiteY6" fmla="*/ 7119843 h 13332314"/>
                  <a:gd name="connsiteX7" fmla="*/ 13494430 w 14403101"/>
                  <a:gd name="connsiteY7" fmla="*/ 11193626 h 13332314"/>
                  <a:gd name="connsiteX8" fmla="*/ 10888059 w 14403101"/>
                  <a:gd name="connsiteY8" fmla="*/ 13332313 h 13332314"/>
                  <a:gd name="connsiteX0" fmla="*/ 0 w 14024648"/>
                  <a:gd name="connsiteY0" fmla="*/ 4408186 h 13332314"/>
                  <a:gd name="connsiteX1" fmla="*/ 0 w 14024648"/>
                  <a:gd name="connsiteY1" fmla="*/ 4408592 h 13332314"/>
                  <a:gd name="connsiteX2" fmla="*/ 6476515 w 14024648"/>
                  <a:gd name="connsiteY2" fmla="*/ 7279 h 13332314"/>
                  <a:gd name="connsiteX3" fmla="*/ 11810759 w 14024648"/>
                  <a:gd name="connsiteY3" fmla="*/ 1891988 h 13332314"/>
                  <a:gd name="connsiteX4" fmla="*/ 13255359 w 14024648"/>
                  <a:gd name="connsiteY4" fmla="*/ 4121700 h 13332314"/>
                  <a:gd name="connsiteX5" fmla="*/ 13975829 w 14024648"/>
                  <a:gd name="connsiteY5" fmla="*/ 7119843 h 13332314"/>
                  <a:gd name="connsiteX6" fmla="*/ 13115977 w 14024648"/>
                  <a:gd name="connsiteY6" fmla="*/ 11193626 h 13332314"/>
                  <a:gd name="connsiteX7" fmla="*/ 10509606 w 14024648"/>
                  <a:gd name="connsiteY7" fmla="*/ 13332313 h 13332314"/>
                  <a:gd name="connsiteX0" fmla="*/ 0 w 14024648"/>
                  <a:gd name="connsiteY0" fmla="*/ 4408186 h 13332314"/>
                  <a:gd name="connsiteX1" fmla="*/ 6476515 w 14024648"/>
                  <a:gd name="connsiteY1" fmla="*/ 7279 h 13332314"/>
                  <a:gd name="connsiteX2" fmla="*/ 11810759 w 14024648"/>
                  <a:gd name="connsiteY2" fmla="*/ 1891988 h 13332314"/>
                  <a:gd name="connsiteX3" fmla="*/ 13255359 w 14024648"/>
                  <a:gd name="connsiteY3" fmla="*/ 4121700 h 13332314"/>
                  <a:gd name="connsiteX4" fmla="*/ 13975829 w 14024648"/>
                  <a:gd name="connsiteY4" fmla="*/ 7119843 h 13332314"/>
                  <a:gd name="connsiteX5" fmla="*/ 13115977 w 14024648"/>
                  <a:gd name="connsiteY5" fmla="*/ 11193626 h 13332314"/>
                  <a:gd name="connsiteX6" fmla="*/ 10509606 w 14024648"/>
                  <a:gd name="connsiteY6" fmla="*/ 13332313 h 13332314"/>
                  <a:gd name="connsiteX0" fmla="*/ -1 w 7548132"/>
                  <a:gd name="connsiteY0" fmla="*/ 7279 h 13332314"/>
                  <a:gd name="connsiteX1" fmla="*/ 5334243 w 7548132"/>
                  <a:gd name="connsiteY1" fmla="*/ 1891988 h 13332314"/>
                  <a:gd name="connsiteX2" fmla="*/ 6778843 w 7548132"/>
                  <a:gd name="connsiteY2" fmla="*/ 4121700 h 13332314"/>
                  <a:gd name="connsiteX3" fmla="*/ 7499313 w 7548132"/>
                  <a:gd name="connsiteY3" fmla="*/ 7119843 h 13332314"/>
                  <a:gd name="connsiteX4" fmla="*/ 6639461 w 7548132"/>
                  <a:gd name="connsiteY4" fmla="*/ 11193626 h 13332314"/>
                  <a:gd name="connsiteX5" fmla="*/ 4033090 w 7548132"/>
                  <a:gd name="connsiteY5" fmla="*/ 13332313 h 13332314"/>
                  <a:gd name="connsiteX0" fmla="*/ -1 w 7548132"/>
                  <a:gd name="connsiteY0" fmla="*/ 0 h 13325035"/>
                  <a:gd name="connsiteX1" fmla="*/ 2775604 w 7548132"/>
                  <a:gd name="connsiteY1" fmla="*/ 386458 h 13325035"/>
                  <a:gd name="connsiteX2" fmla="*/ 5334243 w 7548132"/>
                  <a:gd name="connsiteY2" fmla="*/ 1884709 h 13325035"/>
                  <a:gd name="connsiteX3" fmla="*/ 6778843 w 7548132"/>
                  <a:gd name="connsiteY3" fmla="*/ 4114421 h 13325035"/>
                  <a:gd name="connsiteX4" fmla="*/ 7499313 w 7548132"/>
                  <a:gd name="connsiteY4" fmla="*/ 7112564 h 13325035"/>
                  <a:gd name="connsiteX5" fmla="*/ 6639461 w 7548132"/>
                  <a:gd name="connsiteY5" fmla="*/ 11186347 h 13325035"/>
                  <a:gd name="connsiteX6" fmla="*/ 4033090 w 7548132"/>
                  <a:gd name="connsiteY6" fmla="*/ 13325034 h 13325035"/>
                  <a:gd name="connsiteX0" fmla="*/ 0 w 4772528"/>
                  <a:gd name="connsiteY0" fmla="*/ 0 h 12938577"/>
                  <a:gd name="connsiteX1" fmla="*/ 2558639 w 4772528"/>
                  <a:gd name="connsiteY1" fmla="*/ 1498251 h 12938577"/>
                  <a:gd name="connsiteX2" fmla="*/ 4003239 w 4772528"/>
                  <a:gd name="connsiteY2" fmla="*/ 3727963 h 12938577"/>
                  <a:gd name="connsiteX3" fmla="*/ 4723709 w 4772528"/>
                  <a:gd name="connsiteY3" fmla="*/ 6726106 h 12938577"/>
                  <a:gd name="connsiteX4" fmla="*/ 3863857 w 4772528"/>
                  <a:gd name="connsiteY4" fmla="*/ 10799889 h 12938577"/>
                  <a:gd name="connsiteX5" fmla="*/ 1257486 w 4772528"/>
                  <a:gd name="connsiteY5" fmla="*/ 12938576 h 1293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72528" h="12938577">
                    <a:moveTo>
                      <a:pt x="0" y="0"/>
                    </a:moveTo>
                    <a:cubicBezTo>
                      <a:pt x="889041" y="314118"/>
                      <a:pt x="1891433" y="876924"/>
                      <a:pt x="2558639" y="1498251"/>
                    </a:cubicBezTo>
                    <a:cubicBezTo>
                      <a:pt x="3261638" y="2136647"/>
                      <a:pt x="3678965" y="2951404"/>
                      <a:pt x="4003239" y="3727963"/>
                    </a:cubicBezTo>
                    <a:cubicBezTo>
                      <a:pt x="4376679" y="4601642"/>
                      <a:pt x="4511590" y="5661029"/>
                      <a:pt x="4723709" y="6726106"/>
                    </a:cubicBezTo>
                    <a:cubicBezTo>
                      <a:pt x="4898849" y="8238586"/>
                      <a:pt x="4600582" y="9646227"/>
                      <a:pt x="3863857" y="10799889"/>
                    </a:cubicBezTo>
                    <a:cubicBezTo>
                      <a:pt x="3231973" y="11787351"/>
                      <a:pt x="2315232" y="12495234"/>
                      <a:pt x="1257486" y="12938576"/>
                    </a:cubicBezTo>
                  </a:path>
                </a:pathLst>
              </a:custGeom>
              <a:noFill/>
              <a:ln w="19050" cap="flat">
                <a:solidFill>
                  <a:srgbClr val="77E2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0A202BE4-9EAD-6EEF-F911-F08B953D7DDC}"/>
                  </a:ext>
                </a:extLst>
              </p:cNvPr>
              <p:cNvSpPr/>
              <p:nvPr/>
            </p:nvSpPr>
            <p:spPr>
              <a:xfrm rot="4500000">
                <a:off x="4226412" y="-3060189"/>
                <a:ext cx="4974022" cy="12869485"/>
              </a:xfrm>
              <a:custGeom>
                <a:avLst/>
                <a:gdLst>
                  <a:gd name="connsiteX0" fmla="*/ 6637313 w 13780179"/>
                  <a:gd name="connsiteY0" fmla="*/ 9858 h 13758129"/>
                  <a:gd name="connsiteX1" fmla="*/ 11570484 w 13780179"/>
                  <a:gd name="connsiteY1" fmla="*/ 1860433 h 13758129"/>
                  <a:gd name="connsiteX2" fmla="*/ 13775376 w 13780179"/>
                  <a:gd name="connsiteY2" fmla="*/ 6645758 h 13758129"/>
                  <a:gd name="connsiteX3" fmla="*/ 12683902 w 13780179"/>
                  <a:gd name="connsiteY3" fmla="*/ 10613482 h 13758129"/>
                  <a:gd name="connsiteX4" fmla="*/ 9734971 w 13780179"/>
                  <a:gd name="connsiteY4" fmla="*/ 13111799 h 13758129"/>
                  <a:gd name="connsiteX5" fmla="*/ 5911560 w 13780179"/>
                  <a:gd name="connsiteY5" fmla="*/ 13701837 h 13758129"/>
                  <a:gd name="connsiteX6" fmla="*/ 2196647 w 13780179"/>
                  <a:gd name="connsiteY6" fmla="*/ 11944319 h 13758129"/>
                  <a:gd name="connsiteX7" fmla="*/ 140074 w 13780179"/>
                  <a:gd name="connsiteY7" fmla="*/ 8336226 h 13758129"/>
                  <a:gd name="connsiteX8" fmla="*/ 453375 w 13780179"/>
                  <a:gd name="connsiteY8" fmla="*/ 4483503 h 13758129"/>
                  <a:gd name="connsiteX9" fmla="*/ 6637719 w 13780179"/>
                  <a:gd name="connsiteY9" fmla="*/ 9858 h 13758129"/>
                  <a:gd name="connsiteX0" fmla="*/ 5911560 w 13780179"/>
                  <a:gd name="connsiteY0" fmla="*/ 13701837 h 13910453"/>
                  <a:gd name="connsiteX1" fmla="*/ 2196647 w 13780179"/>
                  <a:gd name="connsiteY1" fmla="*/ 11944319 h 13910453"/>
                  <a:gd name="connsiteX2" fmla="*/ 140074 w 13780179"/>
                  <a:gd name="connsiteY2" fmla="*/ 8336226 h 13910453"/>
                  <a:gd name="connsiteX3" fmla="*/ 453375 w 13780179"/>
                  <a:gd name="connsiteY3" fmla="*/ 4483503 h 13910453"/>
                  <a:gd name="connsiteX4" fmla="*/ 6637719 w 13780179"/>
                  <a:gd name="connsiteY4" fmla="*/ 9858 h 13910453"/>
                  <a:gd name="connsiteX5" fmla="*/ 6637313 w 13780179"/>
                  <a:gd name="connsiteY5" fmla="*/ 9858 h 13910453"/>
                  <a:gd name="connsiteX6" fmla="*/ 11570484 w 13780179"/>
                  <a:gd name="connsiteY6" fmla="*/ 1860433 h 13910453"/>
                  <a:gd name="connsiteX7" fmla="*/ 13775376 w 13780179"/>
                  <a:gd name="connsiteY7" fmla="*/ 6645758 h 13910453"/>
                  <a:gd name="connsiteX8" fmla="*/ 12683902 w 13780179"/>
                  <a:gd name="connsiteY8" fmla="*/ 10613482 h 13910453"/>
                  <a:gd name="connsiteX9" fmla="*/ 9734971 w 13780179"/>
                  <a:gd name="connsiteY9" fmla="*/ 13111799 h 13910453"/>
                  <a:gd name="connsiteX10" fmla="*/ 6120176 w 13780179"/>
                  <a:gd name="connsiteY10" fmla="*/ 13910453 h 13910453"/>
                  <a:gd name="connsiteX0" fmla="*/ 5911560 w 13780179"/>
                  <a:gd name="connsiteY0" fmla="*/ 13701837 h 13701837"/>
                  <a:gd name="connsiteX1" fmla="*/ 2196647 w 13780179"/>
                  <a:gd name="connsiteY1" fmla="*/ 11944319 h 13701837"/>
                  <a:gd name="connsiteX2" fmla="*/ 140074 w 13780179"/>
                  <a:gd name="connsiteY2" fmla="*/ 8336226 h 13701837"/>
                  <a:gd name="connsiteX3" fmla="*/ 453375 w 13780179"/>
                  <a:gd name="connsiteY3" fmla="*/ 4483503 h 13701837"/>
                  <a:gd name="connsiteX4" fmla="*/ 6637719 w 13780179"/>
                  <a:gd name="connsiteY4" fmla="*/ 9858 h 13701837"/>
                  <a:gd name="connsiteX5" fmla="*/ 6637313 w 13780179"/>
                  <a:gd name="connsiteY5" fmla="*/ 9858 h 13701837"/>
                  <a:gd name="connsiteX6" fmla="*/ 11570484 w 13780179"/>
                  <a:gd name="connsiteY6" fmla="*/ 1860433 h 13701837"/>
                  <a:gd name="connsiteX7" fmla="*/ 13775376 w 13780179"/>
                  <a:gd name="connsiteY7" fmla="*/ 6645758 h 13701837"/>
                  <a:gd name="connsiteX8" fmla="*/ 12683902 w 13780179"/>
                  <a:gd name="connsiteY8" fmla="*/ 10613482 h 13701837"/>
                  <a:gd name="connsiteX9" fmla="*/ 9734971 w 13780179"/>
                  <a:gd name="connsiteY9" fmla="*/ 13111799 h 13701837"/>
                  <a:gd name="connsiteX0" fmla="*/ 2196647 w 13780179"/>
                  <a:gd name="connsiteY0" fmla="*/ 11944319 h 13111800"/>
                  <a:gd name="connsiteX1" fmla="*/ 140074 w 13780179"/>
                  <a:gd name="connsiteY1" fmla="*/ 8336226 h 13111800"/>
                  <a:gd name="connsiteX2" fmla="*/ 453375 w 13780179"/>
                  <a:gd name="connsiteY2" fmla="*/ 4483503 h 13111800"/>
                  <a:gd name="connsiteX3" fmla="*/ 6637719 w 13780179"/>
                  <a:gd name="connsiteY3" fmla="*/ 9858 h 13111800"/>
                  <a:gd name="connsiteX4" fmla="*/ 6637313 w 13780179"/>
                  <a:gd name="connsiteY4" fmla="*/ 9858 h 13111800"/>
                  <a:gd name="connsiteX5" fmla="*/ 11570484 w 13780179"/>
                  <a:gd name="connsiteY5" fmla="*/ 1860433 h 13111800"/>
                  <a:gd name="connsiteX6" fmla="*/ 13775376 w 13780179"/>
                  <a:gd name="connsiteY6" fmla="*/ 6645758 h 13111800"/>
                  <a:gd name="connsiteX7" fmla="*/ 12683902 w 13780179"/>
                  <a:gd name="connsiteY7" fmla="*/ 10613482 h 13111800"/>
                  <a:gd name="connsiteX8" fmla="*/ 9734971 w 13780179"/>
                  <a:gd name="connsiteY8" fmla="*/ 13111799 h 13111800"/>
                  <a:gd name="connsiteX0" fmla="*/ 140074 w 13780179"/>
                  <a:gd name="connsiteY0" fmla="*/ 8336226 h 13111800"/>
                  <a:gd name="connsiteX1" fmla="*/ 453375 w 13780179"/>
                  <a:gd name="connsiteY1" fmla="*/ 4483503 h 13111800"/>
                  <a:gd name="connsiteX2" fmla="*/ 6637719 w 13780179"/>
                  <a:gd name="connsiteY2" fmla="*/ 9858 h 13111800"/>
                  <a:gd name="connsiteX3" fmla="*/ 6637313 w 13780179"/>
                  <a:gd name="connsiteY3" fmla="*/ 9858 h 13111800"/>
                  <a:gd name="connsiteX4" fmla="*/ 11570484 w 13780179"/>
                  <a:gd name="connsiteY4" fmla="*/ 1860433 h 13111800"/>
                  <a:gd name="connsiteX5" fmla="*/ 13775376 w 13780179"/>
                  <a:gd name="connsiteY5" fmla="*/ 6645758 h 13111800"/>
                  <a:gd name="connsiteX6" fmla="*/ 12683902 w 13780179"/>
                  <a:gd name="connsiteY6" fmla="*/ 10613482 h 13111800"/>
                  <a:gd name="connsiteX7" fmla="*/ 9734971 w 13780179"/>
                  <a:gd name="connsiteY7" fmla="*/ 13111799 h 13111800"/>
                  <a:gd name="connsiteX0" fmla="*/ -1 w 13326803"/>
                  <a:gd name="connsiteY0" fmla="*/ 4483503 h 13111800"/>
                  <a:gd name="connsiteX1" fmla="*/ 6184343 w 13326803"/>
                  <a:gd name="connsiteY1" fmla="*/ 9858 h 13111800"/>
                  <a:gd name="connsiteX2" fmla="*/ 6183937 w 13326803"/>
                  <a:gd name="connsiteY2" fmla="*/ 9858 h 13111800"/>
                  <a:gd name="connsiteX3" fmla="*/ 11117108 w 13326803"/>
                  <a:gd name="connsiteY3" fmla="*/ 1860433 h 13111800"/>
                  <a:gd name="connsiteX4" fmla="*/ 13322000 w 13326803"/>
                  <a:gd name="connsiteY4" fmla="*/ 6645758 h 13111800"/>
                  <a:gd name="connsiteX5" fmla="*/ 12230526 w 13326803"/>
                  <a:gd name="connsiteY5" fmla="*/ 10613482 h 13111800"/>
                  <a:gd name="connsiteX6" fmla="*/ 9281595 w 13326803"/>
                  <a:gd name="connsiteY6" fmla="*/ 13111799 h 13111800"/>
                  <a:gd name="connsiteX0" fmla="*/ 406 w 7142866"/>
                  <a:gd name="connsiteY0" fmla="*/ 9858 h 13111800"/>
                  <a:gd name="connsiteX1" fmla="*/ 0 w 7142866"/>
                  <a:gd name="connsiteY1" fmla="*/ 9858 h 13111800"/>
                  <a:gd name="connsiteX2" fmla="*/ 4933171 w 7142866"/>
                  <a:gd name="connsiteY2" fmla="*/ 1860433 h 13111800"/>
                  <a:gd name="connsiteX3" fmla="*/ 7138063 w 7142866"/>
                  <a:gd name="connsiteY3" fmla="*/ 6645758 h 13111800"/>
                  <a:gd name="connsiteX4" fmla="*/ 6046589 w 7142866"/>
                  <a:gd name="connsiteY4" fmla="*/ 10613482 h 13111800"/>
                  <a:gd name="connsiteX5" fmla="*/ 3097658 w 7142866"/>
                  <a:gd name="connsiteY5" fmla="*/ 13111799 h 13111800"/>
                  <a:gd name="connsiteX0" fmla="*/ 406 w 7142866"/>
                  <a:gd name="connsiteY0" fmla="*/ -1 h 13101941"/>
                  <a:gd name="connsiteX1" fmla="*/ 0 w 7142866"/>
                  <a:gd name="connsiteY1" fmla="*/ -1 h 13101941"/>
                  <a:gd name="connsiteX2" fmla="*/ 2168845 w 7142866"/>
                  <a:gd name="connsiteY2" fmla="*/ 232455 h 13101941"/>
                  <a:gd name="connsiteX3" fmla="*/ 4933171 w 7142866"/>
                  <a:gd name="connsiteY3" fmla="*/ 1850574 h 13101941"/>
                  <a:gd name="connsiteX4" fmla="*/ 7138063 w 7142866"/>
                  <a:gd name="connsiteY4" fmla="*/ 6635899 h 13101941"/>
                  <a:gd name="connsiteX5" fmla="*/ 6046589 w 7142866"/>
                  <a:gd name="connsiteY5" fmla="*/ 10603623 h 13101941"/>
                  <a:gd name="connsiteX6" fmla="*/ 3097658 w 7142866"/>
                  <a:gd name="connsiteY6" fmla="*/ 13101940 h 13101941"/>
                  <a:gd name="connsiteX0" fmla="*/ 1 w 7142461"/>
                  <a:gd name="connsiteY0" fmla="*/ -1 h 13101941"/>
                  <a:gd name="connsiteX1" fmla="*/ 2168440 w 7142461"/>
                  <a:gd name="connsiteY1" fmla="*/ 232455 h 13101941"/>
                  <a:gd name="connsiteX2" fmla="*/ 4932766 w 7142461"/>
                  <a:gd name="connsiteY2" fmla="*/ 1850574 h 13101941"/>
                  <a:gd name="connsiteX3" fmla="*/ 7137658 w 7142461"/>
                  <a:gd name="connsiteY3" fmla="*/ 6635899 h 13101941"/>
                  <a:gd name="connsiteX4" fmla="*/ 6046184 w 7142461"/>
                  <a:gd name="connsiteY4" fmla="*/ 10603623 h 13101941"/>
                  <a:gd name="connsiteX5" fmla="*/ 3097253 w 7142461"/>
                  <a:gd name="connsiteY5" fmla="*/ 13101940 h 13101941"/>
                  <a:gd name="connsiteX0" fmla="*/ 0 w 4974021"/>
                  <a:gd name="connsiteY0" fmla="*/ 0 h 12869486"/>
                  <a:gd name="connsiteX1" fmla="*/ 2764326 w 4974021"/>
                  <a:gd name="connsiteY1" fmla="*/ 1618119 h 12869486"/>
                  <a:gd name="connsiteX2" fmla="*/ 4969218 w 4974021"/>
                  <a:gd name="connsiteY2" fmla="*/ 6403444 h 12869486"/>
                  <a:gd name="connsiteX3" fmla="*/ 3877744 w 4974021"/>
                  <a:gd name="connsiteY3" fmla="*/ 10371168 h 12869486"/>
                  <a:gd name="connsiteX4" fmla="*/ 928813 w 4974021"/>
                  <a:gd name="connsiteY4" fmla="*/ 12869485 h 12869486"/>
                  <a:gd name="connsiteX0" fmla="*/ 0 w 4974021"/>
                  <a:gd name="connsiteY0" fmla="*/ 0 h 12869486"/>
                  <a:gd name="connsiteX1" fmla="*/ 2764326 w 4974021"/>
                  <a:gd name="connsiteY1" fmla="*/ 1618119 h 12869486"/>
                  <a:gd name="connsiteX2" fmla="*/ 4969218 w 4974021"/>
                  <a:gd name="connsiteY2" fmla="*/ 6403444 h 12869486"/>
                  <a:gd name="connsiteX3" fmla="*/ 3877744 w 4974021"/>
                  <a:gd name="connsiteY3" fmla="*/ 10371168 h 12869486"/>
                  <a:gd name="connsiteX4" fmla="*/ 928813 w 4974021"/>
                  <a:gd name="connsiteY4" fmla="*/ 12869485 h 12869486"/>
                  <a:gd name="connsiteX0" fmla="*/ 0 w 4974021"/>
                  <a:gd name="connsiteY0" fmla="*/ 0 h 12869486"/>
                  <a:gd name="connsiteX1" fmla="*/ 2764326 w 4974021"/>
                  <a:gd name="connsiteY1" fmla="*/ 1618119 h 12869486"/>
                  <a:gd name="connsiteX2" fmla="*/ 4969218 w 4974021"/>
                  <a:gd name="connsiteY2" fmla="*/ 6403444 h 12869486"/>
                  <a:gd name="connsiteX3" fmla="*/ 3877744 w 4974021"/>
                  <a:gd name="connsiteY3" fmla="*/ 10371168 h 12869486"/>
                  <a:gd name="connsiteX4" fmla="*/ 928813 w 4974021"/>
                  <a:gd name="connsiteY4" fmla="*/ 12869485 h 12869486"/>
                  <a:gd name="connsiteX0" fmla="*/ 0 w 4974021"/>
                  <a:gd name="connsiteY0" fmla="*/ 0 h 12869486"/>
                  <a:gd name="connsiteX1" fmla="*/ 2764326 w 4974021"/>
                  <a:gd name="connsiteY1" fmla="*/ 1618119 h 12869486"/>
                  <a:gd name="connsiteX2" fmla="*/ 4969218 w 4974021"/>
                  <a:gd name="connsiteY2" fmla="*/ 6403444 h 12869486"/>
                  <a:gd name="connsiteX3" fmla="*/ 3877744 w 4974021"/>
                  <a:gd name="connsiteY3" fmla="*/ 10371168 h 12869486"/>
                  <a:gd name="connsiteX4" fmla="*/ 928813 w 4974021"/>
                  <a:gd name="connsiteY4" fmla="*/ 12869485 h 12869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4021" h="12869486">
                    <a:moveTo>
                      <a:pt x="0" y="0"/>
                    </a:moveTo>
                    <a:cubicBezTo>
                      <a:pt x="1051994" y="534506"/>
                      <a:pt x="1817532" y="806617"/>
                      <a:pt x="2764326" y="1618119"/>
                    </a:cubicBezTo>
                    <a:cubicBezTo>
                      <a:pt x="4127041" y="2786109"/>
                      <a:pt x="4938335" y="4551650"/>
                      <a:pt x="4969218" y="6403444"/>
                    </a:cubicBezTo>
                    <a:cubicBezTo>
                      <a:pt x="5024075" y="7922022"/>
                      <a:pt x="4605935" y="9269113"/>
                      <a:pt x="3877744" y="10371168"/>
                    </a:cubicBezTo>
                    <a:cubicBezTo>
                      <a:pt x="3149551" y="11473223"/>
                      <a:pt x="2112124" y="12330648"/>
                      <a:pt x="928813" y="12869485"/>
                    </a:cubicBezTo>
                  </a:path>
                </a:pathLst>
              </a:custGeom>
              <a:noFill/>
              <a:ln w="19050" cap="flat">
                <a:solidFill>
                  <a:srgbClr val="64E1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9263C9F1-1661-0BDA-1E07-9959AC598656}"/>
                </a:ext>
              </a:extLst>
            </p:cNvPr>
            <p:cNvSpPr>
              <a:spLocks/>
            </p:cNvSpPr>
            <p:nvPr/>
          </p:nvSpPr>
          <p:spPr>
            <a:xfrm>
              <a:off x="7952994" y="1001964"/>
              <a:ext cx="3523138" cy="3523136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i="0" u="none" strike="noStrike" kern="1200" cap="none" spc="0" normalizeH="0" baseline="0" noProof="0">
                <a:ln>
                  <a:noFill/>
                </a:ln>
                <a:solidFill>
                  <a:srgbClr val="FFFCD9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sp>
        <p:nvSpPr>
          <p:cNvPr id="52" name="Rechteck 51">
            <a:extLst>
              <a:ext uri="{FF2B5EF4-FFF2-40B4-BE49-F238E27FC236}">
                <a16:creationId xmlns:a16="http://schemas.microsoft.com/office/drawing/2014/main" id="{EC84979E-2428-9D5A-B28B-78097FB1575F}"/>
              </a:ext>
            </a:extLst>
          </p:cNvPr>
          <p:cNvSpPr/>
          <p:nvPr/>
        </p:nvSpPr>
        <p:spPr>
          <a:xfrm>
            <a:off x="1385821" y="3102997"/>
            <a:ext cx="6634732" cy="3141018"/>
          </a:xfrm>
          <a:prstGeom prst="rect">
            <a:avLst/>
          </a:prstGeom>
          <a:gradFill>
            <a:gsLst>
              <a:gs pos="44000">
                <a:schemeClr val="accent6"/>
              </a:gs>
              <a:gs pos="100000">
                <a:schemeClr val="accent6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err="1"/>
          </a:p>
        </p:txBody>
      </p:sp>
      <p:sp>
        <p:nvSpPr>
          <p:cNvPr id="53" name="Titel 1">
            <a:extLst>
              <a:ext uri="{FF2B5EF4-FFF2-40B4-BE49-F238E27FC236}">
                <a16:creationId xmlns:a16="http://schemas.microsoft.com/office/drawing/2014/main" id="{6A95BA2F-1E58-305A-FB80-AF12AD142940}"/>
              </a:ext>
            </a:extLst>
          </p:cNvPr>
          <p:cNvSpPr txBox="1">
            <a:spLocks/>
          </p:cNvSpPr>
          <p:nvPr/>
        </p:nvSpPr>
        <p:spPr bwMode="gray">
          <a:xfrm>
            <a:off x="686327" y="1733121"/>
            <a:ext cx="6196829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4800" b="0"/>
              <a:t>ist erst der Anfang …</a:t>
            </a:r>
          </a:p>
        </p:txBody>
      </p:sp>
      <p:sp>
        <p:nvSpPr>
          <p:cNvPr id="54" name="Textplatzhalter 3">
            <a:extLst>
              <a:ext uri="{FF2B5EF4-FFF2-40B4-BE49-F238E27FC236}">
                <a16:creationId xmlns:a16="http://schemas.microsoft.com/office/drawing/2014/main" id="{06AABBFB-E728-A044-5B51-015252F5BCFA}"/>
              </a:ext>
            </a:extLst>
          </p:cNvPr>
          <p:cNvSpPr txBox="1">
            <a:spLocks/>
          </p:cNvSpPr>
          <p:nvPr/>
        </p:nvSpPr>
        <p:spPr>
          <a:xfrm>
            <a:off x="686327" y="2650566"/>
            <a:ext cx="6652657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i="0" kern="1200" baseline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b="0" i="0" kern="1200" baseline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 baseline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717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 baseline="0">
                <a:solidFill>
                  <a:schemeClr val="tx1"/>
                </a:solidFill>
                <a:latin typeface="Avenir Next LT Pro Demi" panose="020B0504020202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1">
                <a:gradFill flip="none" rotWithShape="1">
                  <a:gsLst>
                    <a:gs pos="0">
                      <a:schemeClr val="accent2"/>
                    </a:gs>
                    <a:gs pos="33000">
                      <a:schemeClr val="accent3"/>
                    </a:gs>
                    <a:gs pos="6400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  <a:latin typeface="+mn-lt"/>
              </a:rPr>
              <a:t>Komm auf uns zu… </a:t>
            </a:r>
            <a:br>
              <a:rPr lang="de-DE" sz="2000" b="1">
                <a:gradFill flip="none" rotWithShape="1">
                  <a:gsLst>
                    <a:gs pos="0">
                      <a:schemeClr val="accent2"/>
                    </a:gs>
                    <a:gs pos="33000">
                      <a:schemeClr val="accent3"/>
                    </a:gs>
                    <a:gs pos="6400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  <a:latin typeface="+mn-lt"/>
              </a:rPr>
            </a:br>
            <a:r>
              <a:rPr lang="de-DE" sz="2000" b="1">
                <a:gradFill flip="none" rotWithShape="1">
                  <a:gsLst>
                    <a:gs pos="0">
                      <a:schemeClr val="accent2"/>
                    </a:gs>
                    <a:gs pos="33000">
                      <a:schemeClr val="accent3"/>
                    </a:gs>
                    <a:gs pos="6400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  <a:latin typeface="+mn-lt"/>
              </a:rPr>
              <a:t>     … und lass uns gemeinsam die Zukunft gestalten! </a:t>
            </a:r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A0AA53E8-AB16-5282-308D-006C9E92B1B0}"/>
              </a:ext>
            </a:extLst>
          </p:cNvPr>
          <p:cNvSpPr txBox="1">
            <a:spLocks/>
          </p:cNvSpPr>
          <p:nvPr/>
        </p:nvSpPr>
        <p:spPr>
          <a:xfrm>
            <a:off x="2075321" y="4116477"/>
            <a:ext cx="3860257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de-DE"/>
            </a:defPPr>
            <a:lvl1pPr algn="r">
              <a:defRPr sz="1600" b="1">
                <a:solidFill>
                  <a:schemeClr val="bg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de-DE"/>
              <a:t>Nina Stolle</a:t>
            </a:r>
          </a:p>
          <a:p>
            <a:pPr algn="l"/>
            <a:r>
              <a:rPr lang="de-DE" b="0"/>
              <a:t>Expertin für nachhaltige Wertschöpfung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B36BFA2E-D055-A583-BC2C-92AFC69CBC9F}"/>
              </a:ext>
            </a:extLst>
          </p:cNvPr>
          <p:cNvSpPr txBox="1">
            <a:spLocks/>
          </p:cNvSpPr>
          <p:nvPr/>
        </p:nvSpPr>
        <p:spPr>
          <a:xfrm>
            <a:off x="2997594" y="5144214"/>
            <a:ext cx="4486047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de-DE"/>
            </a:defPPr>
            <a:lvl1pPr algn="r">
              <a:defRPr sz="1600" b="1">
                <a:solidFill>
                  <a:schemeClr val="bg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de-DE"/>
              <a:t>Verena Sommerer</a:t>
            </a:r>
          </a:p>
          <a:p>
            <a:pPr algn="l"/>
            <a:r>
              <a:rPr lang="de-DE" b="0"/>
              <a:t>Expertin für Klimatransition in Unternehme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5BC21629-885D-5CED-771E-BB83C080106C}"/>
              </a:ext>
            </a:extLst>
          </p:cNvPr>
          <p:cNvSpPr txBox="1">
            <a:spLocks/>
          </p:cNvSpPr>
          <p:nvPr/>
        </p:nvSpPr>
        <p:spPr bwMode="gray">
          <a:xfrm>
            <a:off x="686328" y="994457"/>
            <a:ext cx="5607126" cy="73866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4800"/>
              <a:t>Ein Impuls, </a:t>
            </a:r>
            <a:endParaRPr lang="de-DE" sz="4800" b="0"/>
          </a:p>
        </p:txBody>
      </p:sp>
      <p:pic>
        <p:nvPicPr>
          <p:cNvPr id="3" name="Bildplatzhalter 12" descr="Ein Bild, das Menschliches Gesicht, Person, Kleidung, Lächeln enthält.&#10;&#10;KI-generierte Inhalte können fehlerhaft sein.">
            <a:extLst>
              <a:ext uri="{FF2B5EF4-FFF2-40B4-BE49-F238E27FC236}">
                <a16:creationId xmlns:a16="http://schemas.microsoft.com/office/drawing/2014/main" id="{52D7370D-D566-8C9E-8720-6D006CF5CD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2" r="16612"/>
          <a:stretch/>
        </p:blipFill>
        <p:spPr>
          <a:xfrm>
            <a:off x="1617598" y="4838233"/>
            <a:ext cx="1105677" cy="1104404"/>
          </a:xfrm>
          <a:prstGeom prst="ellipse">
            <a:avLst/>
          </a:prstGeom>
        </p:spPr>
      </p:pic>
      <p:pic>
        <p:nvPicPr>
          <p:cNvPr id="4" name="Picture Placeholder 20" descr="A person sitting on a chair&#10;&#10;Description automatically generated">
            <a:extLst>
              <a:ext uri="{FF2B5EF4-FFF2-40B4-BE49-F238E27FC236}">
                <a16:creationId xmlns:a16="http://schemas.microsoft.com/office/drawing/2014/main" id="{FAD91596-F928-452D-3C2B-4C5DAB264C8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67" t="3572" r="44491" b="61914"/>
          <a:stretch/>
        </p:blipFill>
        <p:spPr>
          <a:xfrm>
            <a:off x="695325" y="3810496"/>
            <a:ext cx="1105677" cy="1104404"/>
          </a:xfrm>
          <a:prstGeom prst="ellipse">
            <a:avLst/>
          </a:prstGeom>
        </p:spPr>
      </p:pic>
      <p:pic>
        <p:nvPicPr>
          <p:cNvPr id="6" name="Grafik 5" descr="Ein Bild, das Screenshot, Muster, Kreis, Symmetrie enthält.&#10;&#10;KI-generierte Inhalte können fehlerhaft sein.">
            <a:extLst>
              <a:ext uri="{FF2B5EF4-FFF2-40B4-BE49-F238E27FC236}">
                <a16:creationId xmlns:a16="http://schemas.microsoft.com/office/drawing/2014/main" id="{DBF15591-F8FE-13D4-091F-26790729DB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2558" y="1524913"/>
            <a:ext cx="2428258" cy="2428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172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0 L 2.70833E-6 0.0386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98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79167E-6 -3.33333E-6 L -0.05572 0.0007 " pathEditMode="relative" rAng="0" ptsTypes="AA">
                                      <p:cBhvr>
                                        <p:cTn id="19" dur="10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8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230"/>
                            </p:stCondLst>
                            <p:childTnLst>
                              <p:par>
                                <p:cTn id="21" presetID="53" presetClass="entr" presetSubtype="16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230"/>
                            </p:stCondLst>
                            <p:childTnLst>
                              <p:par>
                                <p:cTn id="32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54" grpId="0"/>
      <p:bldP spid="54" grpId="1"/>
      <p:bldP spid="9" grpId="0"/>
      <p:bldP spid="12" grpId="0"/>
      <p:bldP spid="15" grpId="0"/>
      <p:bldP spid="15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BDDBB54E-5B6D-ADA5-8885-C88B26729F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9401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DBB54E-5B6D-ADA5-8885-C88B26729F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Kleidung, Menschliches Gesicht, Himmel, Person enthält.&#10;&#10;KI-generierte Inhalte können fehlerhaft sein.">
            <a:extLst>
              <a:ext uri="{FF2B5EF4-FFF2-40B4-BE49-F238E27FC236}">
                <a16:creationId xmlns:a16="http://schemas.microsoft.com/office/drawing/2014/main" id="{7FCC9B3B-6953-D191-3CB6-18E92AB729B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0" t="26340" r="21499" b="9886"/>
          <a:stretch/>
        </p:blipFill>
        <p:spPr>
          <a:xfrm>
            <a:off x="0" y="-2858"/>
            <a:ext cx="12192000" cy="6863715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46D884E-772F-804F-A929-A36445DE42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81684B8-B993-F3CF-3712-EF8B144AE066}"/>
              </a:ext>
            </a:extLst>
          </p:cNvPr>
          <p:cNvSpPr/>
          <p:nvPr/>
        </p:nvSpPr>
        <p:spPr>
          <a:xfrm flipH="1">
            <a:off x="-8021" y="-11430"/>
            <a:ext cx="6960534" cy="6869429"/>
          </a:xfrm>
          <a:prstGeom prst="rect">
            <a:avLst/>
          </a:prstGeom>
          <a:gradFill>
            <a:gsLst>
              <a:gs pos="52300">
                <a:schemeClr val="accent6">
                  <a:alpha val="50000"/>
                </a:schemeClr>
              </a:gs>
              <a:gs pos="0">
                <a:schemeClr val="accent6">
                  <a:alpha val="0"/>
                </a:schemeClr>
              </a:gs>
              <a:gs pos="100000">
                <a:schemeClr val="accent6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8F567592-60C3-3513-7020-6658362D8E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328" y="3462106"/>
            <a:ext cx="5607126" cy="1957487"/>
          </a:xfrm>
        </p:spPr>
        <p:txBody>
          <a:bodyPr vert="horz">
            <a:noAutofit/>
          </a:bodyPr>
          <a:lstStyle/>
          <a:p>
            <a:pPr algn="l"/>
            <a:r>
              <a:rPr lang="de-DE" sz="4800"/>
              <a:t>Wir bringen Zukunftsfähigkeit</a:t>
            </a:r>
            <a:br>
              <a:rPr lang="de-DE" sz="4800"/>
            </a:br>
            <a:r>
              <a:rPr lang="de-DE" sz="4800"/>
              <a:t>ans Licht.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7B7D86E7-7F5F-EEAA-3367-730E0C95182F}"/>
              </a:ext>
            </a:extLst>
          </p:cNvPr>
          <p:cNvSpPr txBox="1">
            <a:spLocks/>
          </p:cNvSpPr>
          <p:nvPr/>
        </p:nvSpPr>
        <p:spPr>
          <a:xfrm>
            <a:off x="686327" y="2974127"/>
            <a:ext cx="5049311" cy="1938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i="0" kern="1200" baseline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b="0" i="0" kern="1200" baseline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 baseline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717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 baseline="0">
                <a:solidFill>
                  <a:schemeClr val="tx1"/>
                </a:solidFill>
                <a:latin typeface="Avenir Next LT Pro Demi" panose="020B0504020202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err="1">
                <a:gradFill flip="none" rotWithShape="1">
                  <a:gsLst>
                    <a:gs pos="0">
                      <a:schemeClr val="accent2"/>
                    </a:gs>
                    <a:gs pos="33000">
                      <a:schemeClr val="accent3"/>
                    </a:gs>
                    <a:gs pos="6400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  <a:latin typeface="Avenir Next LT Pro Demi" panose="020B0504020202020204" pitchFamily="34" charset="77"/>
              </a:rPr>
              <a:t>technologie</a:t>
            </a:r>
            <a:r>
              <a:rPr lang="de-DE" sz="1400">
                <a:gradFill flip="none" rotWithShape="1">
                  <a:gsLst>
                    <a:gs pos="0">
                      <a:schemeClr val="accent2"/>
                    </a:gs>
                    <a:gs pos="33000">
                      <a:schemeClr val="accent3"/>
                    </a:gs>
                    <a:gs pos="6400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  <a:latin typeface="Avenir Next LT Pro Demi" panose="020B0504020202020204" pitchFamily="34" charset="77"/>
              </a:rPr>
              <a:t>. </a:t>
            </a:r>
            <a:r>
              <a:rPr lang="de-DE" sz="1400" err="1">
                <a:gradFill flip="none" rotWithShape="1">
                  <a:gsLst>
                    <a:gs pos="0">
                      <a:schemeClr val="accent2"/>
                    </a:gs>
                    <a:gs pos="33000">
                      <a:schemeClr val="accent3"/>
                    </a:gs>
                    <a:gs pos="6400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  <a:latin typeface="Avenir Next LT Pro Demi" panose="020B0504020202020204" pitchFamily="34" charset="77"/>
              </a:rPr>
              <a:t>kultur</a:t>
            </a:r>
            <a:r>
              <a:rPr lang="de-DE" sz="1400">
                <a:gradFill flip="none" rotWithShape="1">
                  <a:gsLst>
                    <a:gs pos="0">
                      <a:schemeClr val="accent2"/>
                    </a:gs>
                    <a:gs pos="33000">
                      <a:schemeClr val="accent3"/>
                    </a:gs>
                    <a:gs pos="6400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  <a:latin typeface="Avenir Next LT Pro Demi" panose="020B0504020202020204" pitchFamily="34" charset="77"/>
              </a:rPr>
              <a:t>. </a:t>
            </a:r>
            <a:r>
              <a:rPr lang="de-DE" sz="1400" err="1">
                <a:gradFill flip="none" rotWithShape="1">
                  <a:gsLst>
                    <a:gs pos="0">
                      <a:schemeClr val="accent2"/>
                    </a:gs>
                    <a:gs pos="33000">
                      <a:schemeClr val="accent3"/>
                    </a:gs>
                    <a:gs pos="6400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  <a:latin typeface="Avenir Next LT Pro Demi" panose="020B0504020202020204" pitchFamily="34" charset="77"/>
              </a:rPr>
              <a:t>netzwerke</a:t>
            </a:r>
            <a:r>
              <a:rPr lang="de-DE" sz="1400">
                <a:gradFill flip="none" rotWithShape="1">
                  <a:gsLst>
                    <a:gs pos="0">
                      <a:schemeClr val="accent2"/>
                    </a:gs>
                    <a:gs pos="33000">
                      <a:schemeClr val="accent3"/>
                    </a:gs>
                    <a:gs pos="6400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  <a:latin typeface="Avenir Next LT Pro Demi" panose="020B0504020202020204" pitchFamily="34" charset="77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73927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744FA1F-E7D9-24F9-6C20-8E31F56B5E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44FA1F-E7D9-24F9-6C20-8E31F56B5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C7261B4-5DC8-D5D6-1F70-983BA5E80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692150"/>
            <a:ext cx="10801350" cy="1004888"/>
          </a:xfrm>
        </p:spPr>
        <p:txBody>
          <a:bodyPr vert="horz"/>
          <a:lstStyle/>
          <a:p>
            <a:pPr defTabSz="914377">
              <a:spcBef>
                <a:spcPts val="500"/>
              </a:spcBef>
            </a:pPr>
            <a:r>
              <a:rPr lang="de-DE" kern="0">
                <a:latin typeface="Avenir Next LT Pro" panose="020B0504020202020204" pitchFamily="34" charset="77"/>
                <a:ea typeface="+mn-ea"/>
                <a:cs typeface="+mn-cs"/>
              </a:rPr>
              <a:t>Zukunftsmutig, zugewandt, zupackend. </a:t>
            </a:r>
            <a:endParaRPr lang="en-US" kern="0"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7775B86-3C5F-8A86-024A-7FF93D9A2B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298450"/>
            <a:ext cx="8316913" cy="276380"/>
          </a:xfrm>
        </p:spPr>
        <p:txBody>
          <a:bodyPr/>
          <a:lstStyle/>
          <a:p>
            <a:r>
              <a:rPr lang="de-DE" err="1"/>
              <a:t>metafinanz</a:t>
            </a:r>
            <a:r>
              <a:rPr lang="de-DE"/>
              <a:t> auf einen Blick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B1574F92-A272-C383-3F0E-24BA09F96592}"/>
              </a:ext>
            </a:extLst>
          </p:cNvPr>
          <p:cNvCxnSpPr/>
          <p:nvPr/>
        </p:nvCxnSpPr>
        <p:spPr>
          <a:xfrm>
            <a:off x="695325" y="1614300"/>
            <a:ext cx="1057275" cy="0"/>
          </a:xfrm>
          <a:prstGeom prst="line">
            <a:avLst/>
          </a:prstGeom>
          <a:ln w="88900" cap="rnd">
            <a:gradFill flip="none" rotWithShape="1">
              <a:gsLst>
                <a:gs pos="0">
                  <a:schemeClr val="accent2"/>
                </a:gs>
                <a:gs pos="50000">
                  <a:schemeClr val="accent4"/>
                </a:gs>
                <a:gs pos="100000">
                  <a:schemeClr val="accent5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556B0399-33A2-BB3A-472F-EC28E7227F9A}"/>
              </a:ext>
            </a:extLst>
          </p:cNvPr>
          <p:cNvSpPr txBox="1">
            <a:spLocks/>
          </p:cNvSpPr>
          <p:nvPr/>
        </p:nvSpPr>
        <p:spPr>
          <a:xfrm>
            <a:off x="695322" y="4220883"/>
            <a:ext cx="1832977" cy="87716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i="0" kern="0" spc="0" baseline="0">
                <a:latin typeface="Avenir Next LT Pro" panose="020B0504020202020204" pitchFamily="34" charset="77"/>
              </a:defRPr>
            </a:lvl1pPr>
            <a:lvl2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i="0">
                <a:latin typeface="Avenir Next LT Pro" panose="020B0504020202020204" pitchFamily="34" charset="77"/>
              </a:defRPr>
            </a:lvl2pPr>
            <a:lvl3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 i="0">
                <a:latin typeface="Avenir Next LT Pro" panose="020B0504020202020204" pitchFamily="34" charset="77"/>
              </a:defRPr>
            </a:lvl3pPr>
            <a:lvl4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>
                <a:latin typeface="Avenir Next LT Pro" panose="020B0504020202020204" pitchFamily="34" charset="77"/>
              </a:defRPr>
            </a:lvl4pPr>
            <a:lvl5pPr indent="0">
              <a:lnSpc>
                <a:spcPct val="100000"/>
              </a:lnSpc>
              <a:spcBef>
                <a:spcPts val="1000"/>
              </a:spcBef>
              <a:buFontTx/>
              <a:buNone/>
              <a:defRPr sz="1600" b="1" i="0">
                <a:latin typeface="Avenir Next LT Pro" panose="020B0504020202020204" pitchFamily="34" charset="77"/>
              </a:defRPr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pPr>
              <a:spcAft>
                <a:spcPts val="600"/>
              </a:spcAft>
            </a:pPr>
            <a:r>
              <a:rPr lang="de-DE" sz="1600">
                <a:solidFill>
                  <a:schemeClr val="accent2"/>
                </a:solidFill>
                <a:latin typeface="Avenir Next LT Pro" panose="020B0504020202020204" pitchFamily="34" charset="0"/>
              </a:rPr>
              <a:t>Unser NPS: 94,4</a:t>
            </a:r>
          </a:p>
          <a:p>
            <a:pPr>
              <a:spcAft>
                <a:spcPts val="600"/>
              </a:spcAft>
            </a:pP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… 2024: Rekordwert</a:t>
            </a:r>
            <a:b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</a:b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in der </a:t>
            </a:r>
            <a:r>
              <a:rPr lang="de-DE" sz="120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Kunden-zufriedenheit.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B7446C0C-529E-F36A-DCA3-4BB20235C420}"/>
              </a:ext>
            </a:extLst>
          </p:cNvPr>
          <p:cNvSpPr>
            <a:spLocks/>
          </p:cNvSpPr>
          <p:nvPr/>
        </p:nvSpPr>
        <p:spPr>
          <a:xfrm>
            <a:off x="695323" y="5314149"/>
            <a:ext cx="540550" cy="54055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platzhalter 11">
            <a:extLst>
              <a:ext uri="{FF2B5EF4-FFF2-40B4-BE49-F238E27FC236}">
                <a16:creationId xmlns:a16="http://schemas.microsoft.com/office/drawing/2014/main" id="{68AD14F6-46E6-3A45-442C-439A54F438A0}"/>
              </a:ext>
            </a:extLst>
          </p:cNvPr>
          <p:cNvSpPr txBox="1">
            <a:spLocks/>
          </p:cNvSpPr>
          <p:nvPr/>
        </p:nvSpPr>
        <p:spPr>
          <a:xfrm>
            <a:off x="695324" y="2106315"/>
            <a:ext cx="2030204" cy="93871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i="0" kern="0" spc="0" baseline="0">
                <a:latin typeface="Avenir Next LT Pro" panose="020B0504020202020204" pitchFamily="34" charset="77"/>
              </a:defRPr>
            </a:lvl1pPr>
            <a:lvl2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i="0">
                <a:latin typeface="Avenir Next LT Pro" panose="020B0504020202020204" pitchFamily="34" charset="77"/>
              </a:defRPr>
            </a:lvl2pPr>
            <a:lvl3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 i="0">
                <a:latin typeface="Avenir Next LT Pro" panose="020B0504020202020204" pitchFamily="34" charset="77"/>
              </a:defRPr>
            </a:lvl3pPr>
            <a:lvl4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>
                <a:latin typeface="Avenir Next LT Pro" panose="020B0504020202020204" pitchFamily="34" charset="77"/>
              </a:defRPr>
            </a:lvl4pPr>
            <a:lvl5pPr indent="0">
              <a:lnSpc>
                <a:spcPct val="100000"/>
              </a:lnSpc>
              <a:spcBef>
                <a:spcPts val="1000"/>
              </a:spcBef>
              <a:buFontTx/>
              <a:buNone/>
              <a:defRPr sz="1600" b="1" i="0">
                <a:latin typeface="Avenir Next LT Pro" panose="020B0504020202020204" pitchFamily="34" charset="77"/>
              </a:defRPr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pPr>
              <a:spcAft>
                <a:spcPts val="600"/>
              </a:spcAft>
            </a:pPr>
            <a:r>
              <a:rPr lang="de-DE" sz="1600">
                <a:solidFill>
                  <a:schemeClr val="accent2"/>
                </a:solidFill>
                <a:latin typeface="Avenir Next LT Pro" panose="020B0504020202020204" pitchFamily="34" charset="0"/>
              </a:rPr>
              <a:t>1990 im Schwarz-wald gegründet, </a:t>
            </a:r>
          </a:p>
          <a:p>
            <a:pPr>
              <a:spcAft>
                <a:spcPts val="600"/>
              </a:spcAft>
            </a:pP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… heute in </a:t>
            </a:r>
            <a:r>
              <a:rPr lang="de-DE" sz="120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ganz </a:t>
            </a:r>
            <a:br>
              <a:rPr lang="de-DE" sz="120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</a:br>
            <a:r>
              <a:rPr lang="de-DE" sz="120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Deutschland </a:t>
            </a: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vertreten. </a:t>
            </a: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F053DEFE-DDA6-AC43-F4CD-2A732D8E623B}"/>
              </a:ext>
            </a:extLst>
          </p:cNvPr>
          <p:cNvSpPr>
            <a:spLocks/>
          </p:cNvSpPr>
          <p:nvPr/>
        </p:nvSpPr>
        <p:spPr>
          <a:xfrm>
            <a:off x="695323" y="3172271"/>
            <a:ext cx="540550" cy="54055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2FC291F2-F12C-E3F9-6566-944824DA7B80}"/>
              </a:ext>
            </a:extLst>
          </p:cNvPr>
          <p:cNvSpPr txBox="1">
            <a:spLocks/>
          </p:cNvSpPr>
          <p:nvPr/>
        </p:nvSpPr>
        <p:spPr>
          <a:xfrm>
            <a:off x="3431453" y="4220883"/>
            <a:ext cx="1832977" cy="93871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i="0" kern="0" spc="0" baseline="0">
                <a:latin typeface="Avenir Next LT Pro" panose="020B0504020202020204" pitchFamily="34" charset="77"/>
              </a:defRPr>
            </a:lvl1pPr>
            <a:lvl2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i="0">
                <a:latin typeface="Avenir Next LT Pro" panose="020B0504020202020204" pitchFamily="34" charset="77"/>
              </a:defRPr>
            </a:lvl2pPr>
            <a:lvl3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 i="0">
                <a:latin typeface="Avenir Next LT Pro" panose="020B0504020202020204" pitchFamily="34" charset="77"/>
              </a:defRPr>
            </a:lvl3pPr>
            <a:lvl4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>
                <a:latin typeface="Avenir Next LT Pro" panose="020B0504020202020204" pitchFamily="34" charset="77"/>
              </a:defRPr>
            </a:lvl4pPr>
            <a:lvl5pPr indent="0">
              <a:lnSpc>
                <a:spcPct val="100000"/>
              </a:lnSpc>
              <a:spcBef>
                <a:spcPts val="1000"/>
              </a:spcBef>
              <a:buFontTx/>
              <a:buNone/>
              <a:defRPr sz="1600" b="1" i="0">
                <a:latin typeface="Avenir Next LT Pro" panose="020B0504020202020204" pitchFamily="34" charset="77"/>
              </a:defRPr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pPr>
              <a:spcAft>
                <a:spcPts val="600"/>
              </a:spcAft>
            </a:pPr>
            <a:r>
              <a:rPr lang="de-DE" sz="1600">
                <a:solidFill>
                  <a:schemeClr val="accent3"/>
                </a:solidFill>
                <a:latin typeface="Avenir Next LT Pro" panose="020B0504020202020204" pitchFamily="34" charset="0"/>
              </a:rPr>
              <a:t>Unser Umsatz:</a:t>
            </a:r>
            <a:br>
              <a:rPr lang="de-DE" sz="1600">
                <a:solidFill>
                  <a:schemeClr val="accent3"/>
                </a:solidFill>
                <a:latin typeface="Avenir Next LT Pro" panose="020B0504020202020204" pitchFamily="34" charset="0"/>
              </a:rPr>
            </a:br>
            <a:r>
              <a:rPr lang="de-DE" sz="1600">
                <a:solidFill>
                  <a:schemeClr val="accent3"/>
                </a:solidFill>
                <a:latin typeface="Avenir Next LT Pro" panose="020B0504020202020204" pitchFamily="34" charset="0"/>
              </a:rPr>
              <a:t>175 Mio. EUR</a:t>
            </a:r>
          </a:p>
          <a:p>
            <a:pPr>
              <a:spcAft>
                <a:spcPts val="600"/>
              </a:spcAft>
            </a:pP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… ein </a:t>
            </a:r>
            <a:r>
              <a:rPr lang="de-DE" sz="120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erfolgreiches</a:t>
            </a: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 </a:t>
            </a:r>
            <a:b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</a:b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Jahr 2024.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D421E438-0A5C-53E3-EB40-4A1397A416D1}"/>
              </a:ext>
            </a:extLst>
          </p:cNvPr>
          <p:cNvSpPr>
            <a:spLocks/>
          </p:cNvSpPr>
          <p:nvPr/>
        </p:nvSpPr>
        <p:spPr>
          <a:xfrm>
            <a:off x="3431454" y="5314149"/>
            <a:ext cx="540550" cy="54055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extplatzhalter 13">
            <a:extLst>
              <a:ext uri="{FF2B5EF4-FFF2-40B4-BE49-F238E27FC236}">
                <a16:creationId xmlns:a16="http://schemas.microsoft.com/office/drawing/2014/main" id="{4BBC4D7C-EC52-F11A-C324-9060416A8AD0}"/>
              </a:ext>
            </a:extLst>
          </p:cNvPr>
          <p:cNvSpPr txBox="1">
            <a:spLocks/>
          </p:cNvSpPr>
          <p:nvPr/>
        </p:nvSpPr>
        <p:spPr>
          <a:xfrm>
            <a:off x="3455486" y="2106315"/>
            <a:ext cx="1760875" cy="75405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i="0" kern="0" spc="0" baseline="0">
                <a:latin typeface="Avenir Next LT Pro" panose="020B0504020202020204" pitchFamily="34" charset="77"/>
              </a:defRPr>
            </a:lvl1pPr>
            <a:lvl2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i="0">
                <a:latin typeface="Avenir Next LT Pro" panose="020B0504020202020204" pitchFamily="34" charset="77"/>
              </a:defRPr>
            </a:lvl2pPr>
            <a:lvl3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 i="0">
                <a:latin typeface="Avenir Next LT Pro" panose="020B0504020202020204" pitchFamily="34" charset="77"/>
              </a:defRPr>
            </a:lvl3pPr>
            <a:lvl4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>
                <a:latin typeface="Avenir Next LT Pro" panose="020B0504020202020204" pitchFamily="34" charset="77"/>
              </a:defRPr>
            </a:lvl4pPr>
            <a:lvl5pPr indent="0">
              <a:lnSpc>
                <a:spcPct val="100000"/>
              </a:lnSpc>
              <a:spcBef>
                <a:spcPts val="1000"/>
              </a:spcBef>
              <a:buFontTx/>
              <a:buNone/>
              <a:defRPr sz="1600" b="1" i="0">
                <a:latin typeface="Avenir Next LT Pro" panose="020B0504020202020204" pitchFamily="34" charset="77"/>
              </a:defRPr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pPr>
              <a:spcAft>
                <a:spcPts val="600"/>
              </a:spcAft>
            </a:pPr>
            <a:r>
              <a:rPr lang="de-DE" sz="1600">
                <a:solidFill>
                  <a:schemeClr val="accent3"/>
                </a:solidFill>
                <a:latin typeface="Avenir Next LT Pro" panose="020B0504020202020204" pitchFamily="34" charset="0"/>
              </a:rPr>
              <a:t>Mehr als 850 Mitarbeitende</a:t>
            </a:r>
          </a:p>
          <a:p>
            <a:pPr>
              <a:spcAft>
                <a:spcPts val="600"/>
              </a:spcAft>
            </a:pP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… aus über </a:t>
            </a:r>
            <a:r>
              <a:rPr lang="de-DE" sz="1200">
                <a:solidFill>
                  <a:schemeClr val="bg2">
                    <a:lumMod val="100000"/>
                  </a:schemeClr>
                </a:solidFill>
                <a:latin typeface="Avenir Next LT Pro Demi" panose="020B0704020202020204" pitchFamily="34" charset="0"/>
              </a:rPr>
              <a:t>50 Nationen. </a:t>
            </a: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C103AC04-5E83-561A-525B-463049525D67}"/>
              </a:ext>
            </a:extLst>
          </p:cNvPr>
          <p:cNvSpPr>
            <a:spLocks/>
          </p:cNvSpPr>
          <p:nvPr/>
        </p:nvSpPr>
        <p:spPr>
          <a:xfrm>
            <a:off x="3431454" y="3172271"/>
            <a:ext cx="540550" cy="54055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platzhalter 11">
            <a:extLst>
              <a:ext uri="{FF2B5EF4-FFF2-40B4-BE49-F238E27FC236}">
                <a16:creationId xmlns:a16="http://schemas.microsoft.com/office/drawing/2014/main" id="{0B8C4247-473C-8D4A-901F-1F279B551A20}"/>
              </a:ext>
            </a:extLst>
          </p:cNvPr>
          <p:cNvSpPr txBox="1">
            <a:spLocks/>
          </p:cNvSpPr>
          <p:nvPr/>
        </p:nvSpPr>
        <p:spPr>
          <a:xfrm>
            <a:off x="8706484" y="2106315"/>
            <a:ext cx="1903423" cy="93871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i="0" kern="0" spc="0" baseline="0">
                <a:latin typeface="Avenir Next LT Pro" panose="020B0504020202020204" pitchFamily="34" charset="77"/>
              </a:defRPr>
            </a:lvl1pPr>
            <a:lvl2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i="0">
                <a:latin typeface="Avenir Next LT Pro" panose="020B0504020202020204" pitchFamily="34" charset="77"/>
              </a:defRPr>
            </a:lvl2pPr>
            <a:lvl3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 i="0">
                <a:latin typeface="Avenir Next LT Pro" panose="020B0504020202020204" pitchFamily="34" charset="77"/>
              </a:defRPr>
            </a:lvl3pPr>
            <a:lvl4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>
                <a:latin typeface="Avenir Next LT Pro" panose="020B0504020202020204" pitchFamily="34" charset="77"/>
              </a:defRPr>
            </a:lvl4pPr>
            <a:lvl5pPr indent="0">
              <a:lnSpc>
                <a:spcPct val="100000"/>
              </a:lnSpc>
              <a:spcBef>
                <a:spcPts val="1000"/>
              </a:spcBef>
              <a:buFontTx/>
              <a:buNone/>
              <a:defRPr sz="1600" b="1" i="0">
                <a:latin typeface="Avenir Next LT Pro" panose="020B0504020202020204" pitchFamily="34" charset="77"/>
              </a:defRPr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pPr>
              <a:spcAft>
                <a:spcPts val="600"/>
              </a:spcAft>
            </a:pPr>
            <a:r>
              <a:rPr lang="de-DE" sz="1600">
                <a:solidFill>
                  <a:schemeClr val="accent5"/>
                </a:solidFill>
                <a:latin typeface="Avenir Next LT Pro" panose="020B0504020202020204" pitchFamily="34" charset="0"/>
              </a:rPr>
              <a:t>Wir sind ein Mittelständler</a:t>
            </a:r>
          </a:p>
          <a:p>
            <a:pPr>
              <a:spcAft>
                <a:spcPts val="600"/>
              </a:spcAft>
            </a:pP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… mit </a:t>
            </a:r>
            <a:r>
              <a:rPr lang="de-DE" sz="1200">
                <a:solidFill>
                  <a:schemeClr val="bg2">
                    <a:lumMod val="100000"/>
                  </a:schemeClr>
                </a:solidFill>
                <a:latin typeface="Avenir Next LT Pro Demi" panose="020B0704020202020204" pitchFamily="34" charset="0"/>
              </a:rPr>
              <a:t>Konzernerfahrung</a:t>
            </a:r>
            <a:r>
              <a:rPr lang="de-DE" sz="1200">
                <a:solidFill>
                  <a:schemeClr val="bg1"/>
                </a:solidFill>
                <a:latin typeface="Avenir Next LT Pro" panose="020B0504020202020204" pitchFamily="34" charset="0"/>
              </a:rPr>
              <a:t> </a:t>
            </a:r>
            <a:b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</a:b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als Teil der Allianz Group.</a:t>
            </a: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E164768E-95D4-9001-AC9C-69715D65F6D1}"/>
              </a:ext>
            </a:extLst>
          </p:cNvPr>
          <p:cNvSpPr>
            <a:spLocks/>
          </p:cNvSpPr>
          <p:nvPr/>
        </p:nvSpPr>
        <p:spPr>
          <a:xfrm>
            <a:off x="8706485" y="3172271"/>
            <a:ext cx="540550" cy="54055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Textplatzhalter 11">
            <a:extLst>
              <a:ext uri="{FF2B5EF4-FFF2-40B4-BE49-F238E27FC236}">
                <a16:creationId xmlns:a16="http://schemas.microsoft.com/office/drawing/2014/main" id="{5C05E8B3-E306-3A01-DEF5-5E733AE1E768}"/>
              </a:ext>
            </a:extLst>
          </p:cNvPr>
          <p:cNvSpPr txBox="1">
            <a:spLocks/>
          </p:cNvSpPr>
          <p:nvPr/>
        </p:nvSpPr>
        <p:spPr>
          <a:xfrm>
            <a:off x="8706484" y="4220883"/>
            <a:ext cx="1832977" cy="93871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i="0" kern="0" spc="0" baseline="0">
                <a:latin typeface="Avenir Next LT Pro" panose="020B0504020202020204" pitchFamily="34" charset="77"/>
              </a:defRPr>
            </a:lvl1pPr>
            <a:lvl2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i="0">
                <a:latin typeface="Avenir Next LT Pro" panose="020B0504020202020204" pitchFamily="34" charset="77"/>
              </a:defRPr>
            </a:lvl2pPr>
            <a:lvl3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 i="0">
                <a:latin typeface="Avenir Next LT Pro" panose="020B0504020202020204" pitchFamily="34" charset="77"/>
              </a:defRPr>
            </a:lvl3pPr>
            <a:lvl4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>
                <a:latin typeface="Avenir Next LT Pro" panose="020B0504020202020204" pitchFamily="34" charset="77"/>
              </a:defRPr>
            </a:lvl4pPr>
            <a:lvl5pPr indent="0">
              <a:lnSpc>
                <a:spcPct val="100000"/>
              </a:lnSpc>
              <a:spcBef>
                <a:spcPts val="1000"/>
              </a:spcBef>
              <a:buFontTx/>
              <a:buNone/>
              <a:defRPr sz="1600" b="1" i="0">
                <a:latin typeface="Avenir Next LT Pro" panose="020B0504020202020204" pitchFamily="34" charset="77"/>
              </a:defRPr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pPr>
              <a:spcAft>
                <a:spcPts val="600"/>
              </a:spcAft>
            </a:pPr>
            <a:r>
              <a:rPr lang="de-DE" sz="1600">
                <a:solidFill>
                  <a:schemeClr val="accent5"/>
                </a:solidFill>
                <a:latin typeface="Avenir Next LT Pro" panose="020B0504020202020204" pitchFamily="34" charset="0"/>
              </a:rPr>
              <a:t>Bester IT-</a:t>
            </a:r>
            <a:br>
              <a:rPr lang="de-DE" sz="1600">
                <a:solidFill>
                  <a:schemeClr val="accent5"/>
                </a:solidFill>
                <a:latin typeface="Avenir Next LT Pro" panose="020B0504020202020204" pitchFamily="34" charset="0"/>
              </a:rPr>
            </a:br>
            <a:r>
              <a:rPr lang="de-DE" sz="1600">
                <a:solidFill>
                  <a:schemeClr val="accent5"/>
                </a:solidFill>
                <a:latin typeface="Avenir Next LT Pro" panose="020B0504020202020204" pitchFamily="34" charset="0"/>
              </a:rPr>
              <a:t>Dienstleister</a:t>
            </a:r>
          </a:p>
          <a:p>
            <a:pPr>
              <a:spcAft>
                <a:spcPts val="600"/>
              </a:spcAft>
            </a:pP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… ausgezeichnet </a:t>
            </a:r>
            <a:b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</a:b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von </a:t>
            </a:r>
            <a:r>
              <a:rPr lang="de-DE" sz="1200" err="1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brand</a:t>
            </a:r>
            <a:r>
              <a:rPr lang="de-DE" sz="120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 eins.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AFDAC7E-CFCC-80BD-A6C2-4D75E0DBA7C5}"/>
              </a:ext>
            </a:extLst>
          </p:cNvPr>
          <p:cNvGrpSpPr>
            <a:grpSpLocks/>
          </p:cNvGrpSpPr>
          <p:nvPr/>
        </p:nvGrpSpPr>
        <p:grpSpPr>
          <a:xfrm>
            <a:off x="8706484" y="5314149"/>
            <a:ext cx="1175716" cy="540550"/>
            <a:chOff x="8718121" y="5314149"/>
            <a:chExt cx="1175716" cy="540550"/>
          </a:xfrm>
        </p:grpSpPr>
        <p:sp>
          <p:nvSpPr>
            <p:cNvPr id="31" name="Rechteck: abgerundete Ecken 30">
              <a:extLst>
                <a:ext uri="{FF2B5EF4-FFF2-40B4-BE49-F238E27FC236}">
                  <a16:creationId xmlns:a16="http://schemas.microsoft.com/office/drawing/2014/main" id="{B86DBB60-F2E1-FC76-21F8-C971824193E7}"/>
                </a:ext>
              </a:extLst>
            </p:cNvPr>
            <p:cNvSpPr>
              <a:spLocks/>
            </p:cNvSpPr>
            <p:nvPr/>
          </p:nvSpPr>
          <p:spPr>
            <a:xfrm>
              <a:off x="8718121" y="5314149"/>
              <a:ext cx="1175716" cy="54055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B265D926-3950-D262-4357-DAA3A9D46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903627" y="5405431"/>
              <a:ext cx="804706" cy="357987"/>
            </a:xfrm>
            <a:prstGeom prst="rect">
              <a:avLst/>
            </a:prstGeom>
          </p:spPr>
        </p:pic>
      </p:grpSp>
      <p:sp>
        <p:nvSpPr>
          <p:cNvPr id="33" name="Textplatzhalter 11">
            <a:extLst>
              <a:ext uri="{FF2B5EF4-FFF2-40B4-BE49-F238E27FC236}">
                <a16:creationId xmlns:a16="http://schemas.microsoft.com/office/drawing/2014/main" id="{03ADDABF-6C95-A6D6-0BD8-1237B0FBBDF3}"/>
              </a:ext>
            </a:extLst>
          </p:cNvPr>
          <p:cNvSpPr txBox="1">
            <a:spLocks/>
          </p:cNvSpPr>
          <p:nvPr/>
        </p:nvSpPr>
        <p:spPr>
          <a:xfrm>
            <a:off x="5946320" y="4220883"/>
            <a:ext cx="1832977" cy="93871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i="0" kern="0" spc="0" baseline="0">
                <a:latin typeface="Avenir Next LT Pro" panose="020B0504020202020204" pitchFamily="34" charset="77"/>
              </a:defRPr>
            </a:lvl1pPr>
            <a:lvl2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i="0">
                <a:latin typeface="Avenir Next LT Pro" panose="020B0504020202020204" pitchFamily="34" charset="77"/>
              </a:defRPr>
            </a:lvl2pPr>
            <a:lvl3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 i="0">
                <a:latin typeface="Avenir Next LT Pro" panose="020B0504020202020204" pitchFamily="34" charset="77"/>
              </a:defRPr>
            </a:lvl3pPr>
            <a:lvl4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>
                <a:latin typeface="Avenir Next LT Pro" panose="020B0504020202020204" pitchFamily="34" charset="77"/>
              </a:defRPr>
            </a:lvl4pPr>
            <a:lvl5pPr indent="0">
              <a:lnSpc>
                <a:spcPct val="100000"/>
              </a:lnSpc>
              <a:spcBef>
                <a:spcPts val="1000"/>
              </a:spcBef>
              <a:buFontTx/>
              <a:buNone/>
              <a:defRPr sz="1600" b="1" i="0">
                <a:latin typeface="Avenir Next LT Pro" panose="020B0504020202020204" pitchFamily="34" charset="77"/>
              </a:defRPr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pPr>
              <a:spcAft>
                <a:spcPts val="600"/>
              </a:spcAft>
            </a:pPr>
            <a:r>
              <a:rPr lang="de-DE" sz="1600">
                <a:solidFill>
                  <a:schemeClr val="accent4"/>
                </a:solidFill>
                <a:latin typeface="Avenir Next LT Pro" panose="020B0504020202020204" pitchFamily="34" charset="0"/>
              </a:rPr>
              <a:t>Great Place </a:t>
            </a:r>
            <a:br>
              <a:rPr lang="de-DE" sz="1600">
                <a:solidFill>
                  <a:schemeClr val="accent4"/>
                </a:solidFill>
                <a:latin typeface="Avenir Next LT Pro" panose="020B0504020202020204" pitchFamily="34" charset="0"/>
              </a:rPr>
            </a:br>
            <a:r>
              <a:rPr lang="de-DE" sz="1600">
                <a:solidFill>
                  <a:schemeClr val="accent4"/>
                </a:solidFill>
                <a:latin typeface="Avenir Next LT Pro" panose="020B0504020202020204" pitchFamily="34" charset="0"/>
              </a:rPr>
              <a:t>to Work®</a:t>
            </a:r>
          </a:p>
          <a:p>
            <a:pPr>
              <a:spcAft>
                <a:spcPts val="600"/>
              </a:spcAft>
            </a:pP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… </a:t>
            </a:r>
            <a:r>
              <a:rPr lang="de-DE" sz="120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Platz #1 </a:t>
            </a: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in drei</a:t>
            </a:r>
            <a:b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</a:b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Kategorien.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EBEC4922-5B64-BBC6-DCE5-5B6373148B5D}"/>
              </a:ext>
            </a:extLst>
          </p:cNvPr>
          <p:cNvGrpSpPr>
            <a:grpSpLocks/>
          </p:cNvGrpSpPr>
          <p:nvPr/>
        </p:nvGrpSpPr>
        <p:grpSpPr>
          <a:xfrm>
            <a:off x="5946320" y="5314149"/>
            <a:ext cx="540550" cy="540550"/>
            <a:chOff x="6122999" y="5498299"/>
            <a:chExt cx="411336" cy="411336"/>
          </a:xfrm>
        </p:grpSpPr>
        <p:sp>
          <p:nvSpPr>
            <p:cNvPr id="35" name="Rechteck: abgerundete Ecken 34">
              <a:extLst>
                <a:ext uri="{FF2B5EF4-FFF2-40B4-BE49-F238E27FC236}">
                  <a16:creationId xmlns:a16="http://schemas.microsoft.com/office/drawing/2014/main" id="{3EDC45D4-18C7-8EA5-E066-31B4A6038821}"/>
                </a:ext>
              </a:extLst>
            </p:cNvPr>
            <p:cNvSpPr>
              <a:spLocks/>
            </p:cNvSpPr>
            <p:nvPr/>
          </p:nvSpPr>
          <p:spPr>
            <a:xfrm>
              <a:off x="6122999" y="5498299"/>
              <a:ext cx="411336" cy="411336"/>
            </a:xfrm>
            <a:prstGeom prst="roundRect">
              <a:avLst/>
            </a:prstGeom>
            <a:solidFill>
              <a:srgbClr val="FEB81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6" name="Grafik 35" descr="Ein Bild, das Text, Schrif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5F1E3199-AF3B-095D-C9FF-C7210F622D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77955" y="5553254"/>
              <a:ext cx="301426" cy="301426"/>
            </a:xfrm>
            <a:prstGeom prst="rect">
              <a:avLst/>
            </a:prstGeom>
          </p:spPr>
        </p:pic>
      </p:grpSp>
      <p:sp>
        <p:nvSpPr>
          <p:cNvPr id="37" name="Textplatzhalter 15">
            <a:extLst>
              <a:ext uri="{FF2B5EF4-FFF2-40B4-BE49-F238E27FC236}">
                <a16:creationId xmlns:a16="http://schemas.microsoft.com/office/drawing/2014/main" id="{6E463969-8274-D28C-7584-CEB94D02475E}"/>
              </a:ext>
            </a:extLst>
          </p:cNvPr>
          <p:cNvSpPr txBox="1">
            <a:spLocks/>
          </p:cNvSpPr>
          <p:nvPr/>
        </p:nvSpPr>
        <p:spPr>
          <a:xfrm>
            <a:off x="5946320" y="2106315"/>
            <a:ext cx="2030206" cy="93871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i="0" kern="0" spc="0" baseline="0">
                <a:latin typeface="Avenir Next LT Pro" panose="020B0504020202020204" pitchFamily="34" charset="77"/>
              </a:defRPr>
            </a:lvl1pPr>
            <a:lvl2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i="0">
                <a:latin typeface="Avenir Next LT Pro" panose="020B0504020202020204" pitchFamily="34" charset="77"/>
              </a:defRPr>
            </a:lvl2pPr>
            <a:lvl3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 i="0">
                <a:latin typeface="Avenir Next LT Pro" panose="020B0504020202020204" pitchFamily="34" charset="77"/>
              </a:defRPr>
            </a:lvl3pPr>
            <a:lvl4pPr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>
                <a:latin typeface="Avenir Next LT Pro" panose="020B0504020202020204" pitchFamily="34" charset="77"/>
              </a:defRPr>
            </a:lvl4pPr>
            <a:lvl5pPr indent="0">
              <a:lnSpc>
                <a:spcPct val="100000"/>
              </a:lnSpc>
              <a:spcBef>
                <a:spcPts val="1000"/>
              </a:spcBef>
              <a:buFontTx/>
              <a:buNone/>
              <a:defRPr sz="1600" b="1" i="0">
                <a:latin typeface="Avenir Next LT Pro" panose="020B0504020202020204" pitchFamily="34" charset="77"/>
              </a:defRPr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pPr>
              <a:spcAft>
                <a:spcPts val="600"/>
              </a:spcAft>
            </a:pPr>
            <a:r>
              <a:rPr lang="de-DE" sz="1600">
                <a:solidFill>
                  <a:schemeClr val="accent4"/>
                </a:solidFill>
                <a:latin typeface="Avenir Next LT Pro" panose="020B0504020202020204" pitchFamily="34" charset="0"/>
              </a:rPr>
              <a:t>Mit mehr als 150 Netzwerk-Partnern</a:t>
            </a:r>
          </a:p>
          <a:p>
            <a:pPr>
              <a:spcAft>
                <a:spcPts val="600"/>
              </a:spcAft>
            </a:pP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… und </a:t>
            </a:r>
            <a:r>
              <a:rPr lang="de-DE" sz="1200">
                <a:solidFill>
                  <a:schemeClr val="bg2">
                    <a:lumMod val="100000"/>
                  </a:schemeClr>
                </a:solidFill>
                <a:latin typeface="Avenir Next LT Pro Demi" panose="020B0704020202020204" pitchFamily="34" charset="0"/>
              </a:rPr>
              <a:t>8.000 </a:t>
            </a:r>
            <a:r>
              <a:rPr lang="de-DE" sz="1200" err="1">
                <a:solidFill>
                  <a:schemeClr val="bg2">
                    <a:lumMod val="100000"/>
                  </a:schemeClr>
                </a:solidFill>
                <a:latin typeface="Avenir Next LT Pro Demi" panose="020B0704020202020204" pitchFamily="34" charset="0"/>
              </a:rPr>
              <a:t>Expert:innen</a:t>
            </a:r>
            <a:r>
              <a:rPr lang="de-DE" sz="1200">
                <a:solidFill>
                  <a:schemeClr val="bg2">
                    <a:lumMod val="100000"/>
                  </a:schemeClr>
                </a:solidFill>
                <a:latin typeface="Avenir Next LT Pro Demi" panose="020B0704020202020204" pitchFamily="34" charset="0"/>
              </a:rPr>
              <a:t> </a:t>
            </a:r>
            <a:br>
              <a:rPr lang="de-DE" sz="1200">
                <a:solidFill>
                  <a:schemeClr val="bg2">
                    <a:lumMod val="100000"/>
                  </a:schemeClr>
                </a:solidFill>
                <a:latin typeface="Avenir Next LT Pro Demi" panose="020B0704020202020204" pitchFamily="34" charset="0"/>
              </a:rPr>
            </a:br>
            <a:r>
              <a:rPr lang="de-DE" sz="1200" b="0">
                <a:solidFill>
                  <a:schemeClr val="bg2">
                    <a:lumMod val="100000"/>
                  </a:schemeClr>
                </a:solidFill>
                <a:latin typeface="Avenir Next LT Pro" panose="020B0504020202020204" pitchFamily="34" charset="0"/>
              </a:rPr>
              <a:t>für alles gerüstet. </a:t>
            </a: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0F6E62AA-7C6C-038A-717C-76551100B005}"/>
              </a:ext>
            </a:extLst>
          </p:cNvPr>
          <p:cNvSpPr>
            <a:spLocks/>
          </p:cNvSpPr>
          <p:nvPr/>
        </p:nvSpPr>
        <p:spPr>
          <a:xfrm>
            <a:off x="5946320" y="3172271"/>
            <a:ext cx="540549" cy="54055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1"/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3E4AEF8D-7A6D-876D-E016-4A124D02FD95}"/>
              </a:ext>
            </a:extLst>
          </p:cNvPr>
          <p:cNvCxnSpPr>
            <a:cxnSpLocks/>
          </p:cNvCxnSpPr>
          <p:nvPr/>
        </p:nvCxnSpPr>
        <p:spPr>
          <a:xfrm>
            <a:off x="660400" y="3966852"/>
            <a:ext cx="9879061" cy="0"/>
          </a:xfrm>
          <a:prstGeom prst="line">
            <a:avLst/>
          </a:prstGeom>
          <a:ln>
            <a:solidFill>
              <a:schemeClr val="bg2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79FAF7EE-C1AF-F964-2CA2-911DADB70C68}"/>
              </a:ext>
            </a:extLst>
          </p:cNvPr>
          <p:cNvCxnSpPr>
            <a:cxnSpLocks/>
          </p:cNvCxnSpPr>
          <p:nvPr/>
        </p:nvCxnSpPr>
        <p:spPr>
          <a:xfrm>
            <a:off x="3090507" y="2106315"/>
            <a:ext cx="0" cy="1606506"/>
          </a:xfrm>
          <a:prstGeom prst="line">
            <a:avLst/>
          </a:prstGeom>
          <a:ln>
            <a:solidFill>
              <a:schemeClr val="bg2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F7381176-BEC4-BD6F-B97A-A3AC3435663D}"/>
              </a:ext>
            </a:extLst>
          </p:cNvPr>
          <p:cNvCxnSpPr>
            <a:cxnSpLocks/>
          </p:cNvCxnSpPr>
          <p:nvPr/>
        </p:nvCxnSpPr>
        <p:spPr>
          <a:xfrm>
            <a:off x="5581341" y="2106315"/>
            <a:ext cx="0" cy="1606506"/>
          </a:xfrm>
          <a:prstGeom prst="line">
            <a:avLst/>
          </a:prstGeom>
          <a:ln>
            <a:solidFill>
              <a:schemeClr val="bg2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E6772948-3964-D219-0952-278632BF9E44}"/>
              </a:ext>
            </a:extLst>
          </p:cNvPr>
          <p:cNvCxnSpPr>
            <a:cxnSpLocks/>
          </p:cNvCxnSpPr>
          <p:nvPr/>
        </p:nvCxnSpPr>
        <p:spPr>
          <a:xfrm>
            <a:off x="8341505" y="2106315"/>
            <a:ext cx="0" cy="1606506"/>
          </a:xfrm>
          <a:prstGeom prst="line">
            <a:avLst/>
          </a:prstGeom>
          <a:ln>
            <a:solidFill>
              <a:schemeClr val="bg2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F96C8C29-41B9-C378-BE93-F517F489EED0}"/>
              </a:ext>
            </a:extLst>
          </p:cNvPr>
          <p:cNvCxnSpPr>
            <a:cxnSpLocks/>
          </p:cNvCxnSpPr>
          <p:nvPr/>
        </p:nvCxnSpPr>
        <p:spPr>
          <a:xfrm>
            <a:off x="3090507" y="4220883"/>
            <a:ext cx="0" cy="1606506"/>
          </a:xfrm>
          <a:prstGeom prst="line">
            <a:avLst/>
          </a:prstGeom>
          <a:ln>
            <a:solidFill>
              <a:schemeClr val="bg2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B8586DAE-4A72-10A6-45C7-7A9A0DA49AA6}"/>
              </a:ext>
            </a:extLst>
          </p:cNvPr>
          <p:cNvCxnSpPr>
            <a:cxnSpLocks/>
          </p:cNvCxnSpPr>
          <p:nvPr/>
        </p:nvCxnSpPr>
        <p:spPr>
          <a:xfrm>
            <a:off x="5581341" y="4220883"/>
            <a:ext cx="0" cy="1606506"/>
          </a:xfrm>
          <a:prstGeom prst="line">
            <a:avLst/>
          </a:prstGeom>
          <a:ln>
            <a:solidFill>
              <a:schemeClr val="bg2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D4A4D3BD-33A7-3556-C36D-0B0F1B8A4C1D}"/>
              </a:ext>
            </a:extLst>
          </p:cNvPr>
          <p:cNvCxnSpPr>
            <a:cxnSpLocks/>
          </p:cNvCxnSpPr>
          <p:nvPr/>
        </p:nvCxnSpPr>
        <p:spPr>
          <a:xfrm>
            <a:off x="8341505" y="4220883"/>
            <a:ext cx="0" cy="1606506"/>
          </a:xfrm>
          <a:prstGeom prst="line">
            <a:avLst/>
          </a:prstGeom>
          <a:ln>
            <a:solidFill>
              <a:schemeClr val="bg2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reeform 142">
            <a:extLst>
              <a:ext uri="{FF2B5EF4-FFF2-40B4-BE49-F238E27FC236}">
                <a16:creationId xmlns:a16="http://schemas.microsoft.com/office/drawing/2014/main" id="{966FA036-2269-60D1-D456-F269CEC82CA6}"/>
              </a:ext>
            </a:extLst>
          </p:cNvPr>
          <p:cNvSpPr>
            <a:spLocks noEditPoints="1"/>
          </p:cNvSpPr>
          <p:nvPr/>
        </p:nvSpPr>
        <p:spPr bwMode="auto">
          <a:xfrm>
            <a:off x="6056200" y="3296947"/>
            <a:ext cx="320788" cy="291198"/>
          </a:xfrm>
          <a:custGeom>
            <a:avLst/>
            <a:gdLst>
              <a:gd name="T0" fmla="*/ 591 w 626"/>
              <a:gd name="T1" fmla="*/ 568 h 568"/>
              <a:gd name="T2" fmla="*/ 35 w 626"/>
              <a:gd name="T3" fmla="*/ 568 h 568"/>
              <a:gd name="T4" fmla="*/ 8 w 626"/>
              <a:gd name="T5" fmla="*/ 556 h 568"/>
              <a:gd name="T6" fmla="*/ 4 w 626"/>
              <a:gd name="T7" fmla="*/ 526 h 568"/>
              <a:gd name="T8" fmla="*/ 101 w 626"/>
              <a:gd name="T9" fmla="*/ 181 h 568"/>
              <a:gd name="T10" fmla="*/ 134 w 626"/>
              <a:gd name="T11" fmla="*/ 161 h 568"/>
              <a:gd name="T12" fmla="*/ 492 w 626"/>
              <a:gd name="T13" fmla="*/ 161 h 568"/>
              <a:gd name="T14" fmla="*/ 525 w 626"/>
              <a:gd name="T15" fmla="*/ 181 h 568"/>
              <a:gd name="T16" fmla="*/ 623 w 626"/>
              <a:gd name="T17" fmla="*/ 526 h 568"/>
              <a:gd name="T18" fmla="*/ 618 w 626"/>
              <a:gd name="T19" fmla="*/ 556 h 568"/>
              <a:gd name="T20" fmla="*/ 591 w 626"/>
              <a:gd name="T21" fmla="*/ 568 h 568"/>
              <a:gd name="T22" fmla="*/ 134 w 626"/>
              <a:gd name="T23" fmla="*/ 175 h 568"/>
              <a:gd name="T24" fmla="*/ 115 w 626"/>
              <a:gd name="T25" fmla="*/ 185 h 568"/>
              <a:gd name="T26" fmla="*/ 17 w 626"/>
              <a:gd name="T27" fmla="*/ 530 h 568"/>
              <a:gd name="T28" fmla="*/ 19 w 626"/>
              <a:gd name="T29" fmla="*/ 547 h 568"/>
              <a:gd name="T30" fmla="*/ 35 w 626"/>
              <a:gd name="T31" fmla="*/ 554 h 568"/>
              <a:gd name="T32" fmla="*/ 591 w 626"/>
              <a:gd name="T33" fmla="*/ 554 h 568"/>
              <a:gd name="T34" fmla="*/ 607 w 626"/>
              <a:gd name="T35" fmla="*/ 547 h 568"/>
              <a:gd name="T36" fmla="*/ 610 w 626"/>
              <a:gd name="T37" fmla="*/ 530 h 568"/>
              <a:gd name="T38" fmla="*/ 512 w 626"/>
              <a:gd name="T39" fmla="*/ 185 h 568"/>
              <a:gd name="T40" fmla="*/ 492 w 626"/>
              <a:gd name="T41" fmla="*/ 175 h 568"/>
              <a:gd name="T42" fmla="*/ 134 w 626"/>
              <a:gd name="T43" fmla="*/ 175 h 568"/>
              <a:gd name="T44" fmla="*/ 426 w 626"/>
              <a:gd name="T45" fmla="*/ 168 h 568"/>
              <a:gd name="T46" fmla="*/ 426 w 626"/>
              <a:gd name="T47" fmla="*/ 113 h 568"/>
              <a:gd name="T48" fmla="*/ 313 w 626"/>
              <a:gd name="T49" fmla="*/ 0 h 568"/>
              <a:gd name="T50" fmla="*/ 200 w 626"/>
              <a:gd name="T51" fmla="*/ 113 h 568"/>
              <a:gd name="T52" fmla="*/ 200 w 626"/>
              <a:gd name="T53" fmla="*/ 168 h 568"/>
              <a:gd name="T54" fmla="*/ 207 w 626"/>
              <a:gd name="T55" fmla="*/ 175 h 568"/>
              <a:gd name="T56" fmla="*/ 214 w 626"/>
              <a:gd name="T57" fmla="*/ 168 h 568"/>
              <a:gd name="T58" fmla="*/ 214 w 626"/>
              <a:gd name="T59" fmla="*/ 113 h 568"/>
              <a:gd name="T60" fmla="*/ 313 w 626"/>
              <a:gd name="T61" fmla="*/ 14 h 568"/>
              <a:gd name="T62" fmla="*/ 412 w 626"/>
              <a:gd name="T63" fmla="*/ 113 h 568"/>
              <a:gd name="T64" fmla="*/ 412 w 626"/>
              <a:gd name="T65" fmla="*/ 168 h 568"/>
              <a:gd name="T66" fmla="*/ 419 w 626"/>
              <a:gd name="T67" fmla="*/ 175 h 568"/>
              <a:gd name="T68" fmla="*/ 419 w 626"/>
              <a:gd name="T69" fmla="*/ 175 h 568"/>
              <a:gd name="T70" fmla="*/ 426 w 626"/>
              <a:gd name="T71" fmla="*/ 168 h 568"/>
              <a:gd name="T72" fmla="*/ 558 w 626"/>
              <a:gd name="T73" fmla="*/ 303 h 568"/>
              <a:gd name="T74" fmla="*/ 551 w 626"/>
              <a:gd name="T75" fmla="*/ 296 h 568"/>
              <a:gd name="T76" fmla="*/ 75 w 626"/>
              <a:gd name="T77" fmla="*/ 296 h 568"/>
              <a:gd name="T78" fmla="*/ 68 w 626"/>
              <a:gd name="T79" fmla="*/ 303 h 568"/>
              <a:gd name="T80" fmla="*/ 75 w 626"/>
              <a:gd name="T81" fmla="*/ 310 h 568"/>
              <a:gd name="T82" fmla="*/ 551 w 626"/>
              <a:gd name="T83" fmla="*/ 310 h 568"/>
              <a:gd name="T84" fmla="*/ 558 w 626"/>
              <a:gd name="T85" fmla="*/ 303 h 568"/>
              <a:gd name="T86" fmla="*/ 313 w 626"/>
              <a:gd name="T87" fmla="*/ 263 h 568"/>
              <a:gd name="T88" fmla="*/ 285 w 626"/>
              <a:gd name="T89" fmla="*/ 235 h 568"/>
              <a:gd name="T90" fmla="*/ 313 w 626"/>
              <a:gd name="T91" fmla="*/ 207 h 568"/>
              <a:gd name="T92" fmla="*/ 341 w 626"/>
              <a:gd name="T93" fmla="*/ 235 h 568"/>
              <a:gd name="T94" fmla="*/ 313 w 626"/>
              <a:gd name="T95" fmla="*/ 263 h 568"/>
              <a:gd name="T96" fmla="*/ 313 w 626"/>
              <a:gd name="T97" fmla="*/ 221 h 568"/>
              <a:gd name="T98" fmla="*/ 299 w 626"/>
              <a:gd name="T99" fmla="*/ 235 h 568"/>
              <a:gd name="T100" fmla="*/ 313 w 626"/>
              <a:gd name="T101" fmla="*/ 249 h 568"/>
              <a:gd name="T102" fmla="*/ 327 w 626"/>
              <a:gd name="T103" fmla="*/ 235 h 568"/>
              <a:gd name="T104" fmla="*/ 313 w 626"/>
              <a:gd name="T105" fmla="*/ 221 h 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6" h="568">
                <a:moveTo>
                  <a:pt x="591" y="568"/>
                </a:moveTo>
                <a:cubicBezTo>
                  <a:pt x="35" y="568"/>
                  <a:pt x="35" y="568"/>
                  <a:pt x="35" y="568"/>
                </a:cubicBezTo>
                <a:cubicBezTo>
                  <a:pt x="24" y="568"/>
                  <a:pt x="14" y="564"/>
                  <a:pt x="8" y="556"/>
                </a:cubicBezTo>
                <a:cubicBezTo>
                  <a:pt x="2" y="548"/>
                  <a:pt x="0" y="537"/>
                  <a:pt x="4" y="526"/>
                </a:cubicBezTo>
                <a:cubicBezTo>
                  <a:pt x="101" y="181"/>
                  <a:pt x="101" y="181"/>
                  <a:pt x="101" y="181"/>
                </a:cubicBezTo>
                <a:cubicBezTo>
                  <a:pt x="104" y="170"/>
                  <a:pt x="118" y="161"/>
                  <a:pt x="134" y="161"/>
                </a:cubicBezTo>
                <a:cubicBezTo>
                  <a:pt x="492" y="161"/>
                  <a:pt x="492" y="161"/>
                  <a:pt x="492" y="161"/>
                </a:cubicBezTo>
                <a:cubicBezTo>
                  <a:pt x="508" y="161"/>
                  <a:pt x="522" y="170"/>
                  <a:pt x="525" y="181"/>
                </a:cubicBezTo>
                <a:cubicBezTo>
                  <a:pt x="623" y="526"/>
                  <a:pt x="623" y="526"/>
                  <a:pt x="623" y="526"/>
                </a:cubicBezTo>
                <a:cubicBezTo>
                  <a:pt x="626" y="537"/>
                  <a:pt x="624" y="548"/>
                  <a:pt x="618" y="556"/>
                </a:cubicBezTo>
                <a:cubicBezTo>
                  <a:pt x="612" y="564"/>
                  <a:pt x="603" y="568"/>
                  <a:pt x="591" y="568"/>
                </a:cubicBezTo>
                <a:close/>
                <a:moveTo>
                  <a:pt x="134" y="175"/>
                </a:moveTo>
                <a:cubicBezTo>
                  <a:pt x="124" y="175"/>
                  <a:pt x="116" y="180"/>
                  <a:pt x="115" y="185"/>
                </a:cubicBezTo>
                <a:cubicBezTo>
                  <a:pt x="17" y="530"/>
                  <a:pt x="17" y="530"/>
                  <a:pt x="17" y="530"/>
                </a:cubicBezTo>
                <a:cubicBezTo>
                  <a:pt x="15" y="536"/>
                  <a:pt x="16" y="543"/>
                  <a:pt x="19" y="547"/>
                </a:cubicBezTo>
                <a:cubicBezTo>
                  <a:pt x="23" y="552"/>
                  <a:pt x="28" y="554"/>
                  <a:pt x="35" y="554"/>
                </a:cubicBezTo>
                <a:cubicBezTo>
                  <a:pt x="591" y="554"/>
                  <a:pt x="591" y="554"/>
                  <a:pt x="591" y="554"/>
                </a:cubicBezTo>
                <a:cubicBezTo>
                  <a:pt x="598" y="554"/>
                  <a:pt x="604" y="552"/>
                  <a:pt x="607" y="547"/>
                </a:cubicBezTo>
                <a:cubicBezTo>
                  <a:pt x="611" y="543"/>
                  <a:pt x="611" y="536"/>
                  <a:pt x="610" y="530"/>
                </a:cubicBezTo>
                <a:cubicBezTo>
                  <a:pt x="512" y="185"/>
                  <a:pt x="512" y="185"/>
                  <a:pt x="512" y="185"/>
                </a:cubicBezTo>
                <a:cubicBezTo>
                  <a:pt x="511" y="180"/>
                  <a:pt x="502" y="175"/>
                  <a:pt x="492" y="175"/>
                </a:cubicBezTo>
                <a:lnTo>
                  <a:pt x="134" y="175"/>
                </a:lnTo>
                <a:close/>
                <a:moveTo>
                  <a:pt x="426" y="168"/>
                </a:moveTo>
                <a:cubicBezTo>
                  <a:pt x="426" y="113"/>
                  <a:pt x="426" y="113"/>
                  <a:pt x="426" y="113"/>
                </a:cubicBezTo>
                <a:cubicBezTo>
                  <a:pt x="426" y="51"/>
                  <a:pt x="376" y="0"/>
                  <a:pt x="313" y="0"/>
                </a:cubicBezTo>
                <a:cubicBezTo>
                  <a:pt x="251" y="0"/>
                  <a:pt x="200" y="51"/>
                  <a:pt x="200" y="113"/>
                </a:cubicBezTo>
                <a:cubicBezTo>
                  <a:pt x="200" y="168"/>
                  <a:pt x="200" y="168"/>
                  <a:pt x="200" y="168"/>
                </a:cubicBezTo>
                <a:cubicBezTo>
                  <a:pt x="200" y="172"/>
                  <a:pt x="203" y="175"/>
                  <a:pt x="207" y="175"/>
                </a:cubicBezTo>
                <a:cubicBezTo>
                  <a:pt x="211" y="175"/>
                  <a:pt x="214" y="172"/>
                  <a:pt x="214" y="168"/>
                </a:cubicBezTo>
                <a:cubicBezTo>
                  <a:pt x="214" y="113"/>
                  <a:pt x="214" y="113"/>
                  <a:pt x="214" y="113"/>
                </a:cubicBezTo>
                <a:cubicBezTo>
                  <a:pt x="214" y="58"/>
                  <a:pt x="259" y="14"/>
                  <a:pt x="313" y="14"/>
                </a:cubicBezTo>
                <a:cubicBezTo>
                  <a:pt x="368" y="14"/>
                  <a:pt x="412" y="58"/>
                  <a:pt x="412" y="113"/>
                </a:cubicBezTo>
                <a:cubicBezTo>
                  <a:pt x="412" y="168"/>
                  <a:pt x="412" y="168"/>
                  <a:pt x="412" y="168"/>
                </a:cubicBezTo>
                <a:cubicBezTo>
                  <a:pt x="412" y="172"/>
                  <a:pt x="415" y="175"/>
                  <a:pt x="419" y="175"/>
                </a:cubicBezTo>
                <a:cubicBezTo>
                  <a:pt x="419" y="175"/>
                  <a:pt x="419" y="175"/>
                  <a:pt x="419" y="175"/>
                </a:cubicBezTo>
                <a:cubicBezTo>
                  <a:pt x="423" y="175"/>
                  <a:pt x="426" y="172"/>
                  <a:pt x="426" y="168"/>
                </a:cubicBezTo>
                <a:close/>
                <a:moveTo>
                  <a:pt x="558" y="303"/>
                </a:moveTo>
                <a:cubicBezTo>
                  <a:pt x="558" y="299"/>
                  <a:pt x="555" y="296"/>
                  <a:pt x="551" y="296"/>
                </a:cubicBezTo>
                <a:cubicBezTo>
                  <a:pt x="75" y="296"/>
                  <a:pt x="75" y="296"/>
                  <a:pt x="75" y="296"/>
                </a:cubicBezTo>
                <a:cubicBezTo>
                  <a:pt x="71" y="296"/>
                  <a:pt x="68" y="299"/>
                  <a:pt x="68" y="303"/>
                </a:cubicBezTo>
                <a:cubicBezTo>
                  <a:pt x="68" y="306"/>
                  <a:pt x="71" y="310"/>
                  <a:pt x="75" y="310"/>
                </a:cubicBezTo>
                <a:cubicBezTo>
                  <a:pt x="551" y="310"/>
                  <a:pt x="551" y="310"/>
                  <a:pt x="551" y="310"/>
                </a:cubicBezTo>
                <a:cubicBezTo>
                  <a:pt x="555" y="310"/>
                  <a:pt x="558" y="306"/>
                  <a:pt x="558" y="303"/>
                </a:cubicBezTo>
                <a:close/>
                <a:moveTo>
                  <a:pt x="313" y="263"/>
                </a:moveTo>
                <a:cubicBezTo>
                  <a:pt x="298" y="263"/>
                  <a:pt x="285" y="251"/>
                  <a:pt x="285" y="235"/>
                </a:cubicBezTo>
                <a:cubicBezTo>
                  <a:pt x="285" y="220"/>
                  <a:pt x="298" y="207"/>
                  <a:pt x="313" y="207"/>
                </a:cubicBezTo>
                <a:cubicBezTo>
                  <a:pt x="329" y="207"/>
                  <a:pt x="341" y="220"/>
                  <a:pt x="341" y="235"/>
                </a:cubicBezTo>
                <a:cubicBezTo>
                  <a:pt x="341" y="251"/>
                  <a:pt x="329" y="263"/>
                  <a:pt x="313" y="263"/>
                </a:cubicBezTo>
                <a:close/>
                <a:moveTo>
                  <a:pt x="313" y="221"/>
                </a:moveTo>
                <a:cubicBezTo>
                  <a:pt x="306" y="221"/>
                  <a:pt x="299" y="228"/>
                  <a:pt x="299" y="235"/>
                </a:cubicBezTo>
                <a:cubicBezTo>
                  <a:pt x="299" y="243"/>
                  <a:pt x="306" y="249"/>
                  <a:pt x="313" y="249"/>
                </a:cubicBezTo>
                <a:cubicBezTo>
                  <a:pt x="321" y="249"/>
                  <a:pt x="327" y="243"/>
                  <a:pt x="327" y="235"/>
                </a:cubicBezTo>
                <a:cubicBezTo>
                  <a:pt x="327" y="228"/>
                  <a:pt x="321" y="221"/>
                  <a:pt x="313" y="221"/>
                </a:cubicBez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7" name="Freeform 102">
            <a:extLst>
              <a:ext uri="{FF2B5EF4-FFF2-40B4-BE49-F238E27FC236}">
                <a16:creationId xmlns:a16="http://schemas.microsoft.com/office/drawing/2014/main" id="{63681B09-0223-358A-7B4E-BC3276BCDF87}"/>
              </a:ext>
            </a:extLst>
          </p:cNvPr>
          <p:cNvSpPr>
            <a:spLocks noEditPoints="1"/>
          </p:cNvSpPr>
          <p:nvPr/>
        </p:nvSpPr>
        <p:spPr bwMode="auto">
          <a:xfrm>
            <a:off x="8814281" y="3269613"/>
            <a:ext cx="324958" cy="345866"/>
          </a:xfrm>
          <a:custGeom>
            <a:avLst/>
            <a:gdLst>
              <a:gd name="T0" fmla="*/ 160 w 576"/>
              <a:gd name="T1" fmla="*/ 333 h 613"/>
              <a:gd name="T2" fmla="*/ 251 w 576"/>
              <a:gd name="T3" fmla="*/ 413 h 613"/>
              <a:gd name="T4" fmla="*/ 174 w 576"/>
              <a:gd name="T5" fmla="*/ 340 h 613"/>
              <a:gd name="T6" fmla="*/ 50 w 576"/>
              <a:gd name="T7" fmla="*/ 326 h 613"/>
              <a:gd name="T8" fmla="*/ 126 w 576"/>
              <a:gd name="T9" fmla="*/ 420 h 613"/>
              <a:gd name="T10" fmla="*/ 119 w 576"/>
              <a:gd name="T11" fmla="*/ 406 h 613"/>
              <a:gd name="T12" fmla="*/ 119 w 576"/>
              <a:gd name="T13" fmla="*/ 406 h 613"/>
              <a:gd name="T14" fmla="*/ 251 w 576"/>
              <a:gd name="T15" fmla="*/ 199 h 613"/>
              <a:gd name="T16" fmla="*/ 160 w 576"/>
              <a:gd name="T17" fmla="*/ 279 h 613"/>
              <a:gd name="T18" fmla="*/ 237 w 576"/>
              <a:gd name="T19" fmla="*/ 272 h 613"/>
              <a:gd name="T20" fmla="*/ 50 w 576"/>
              <a:gd name="T21" fmla="*/ 192 h 613"/>
              <a:gd name="T22" fmla="*/ 126 w 576"/>
              <a:gd name="T23" fmla="*/ 286 h 613"/>
              <a:gd name="T24" fmla="*/ 119 w 576"/>
              <a:gd name="T25" fmla="*/ 272 h 613"/>
              <a:gd name="T26" fmla="*/ 119 w 576"/>
              <a:gd name="T27" fmla="*/ 272 h 613"/>
              <a:gd name="T28" fmla="*/ 43 w 576"/>
              <a:gd name="T29" fmla="*/ 549 h 613"/>
              <a:gd name="T30" fmla="*/ 133 w 576"/>
              <a:gd name="T31" fmla="*/ 468 h 613"/>
              <a:gd name="T32" fmla="*/ 57 w 576"/>
              <a:gd name="T33" fmla="*/ 475 h 613"/>
              <a:gd name="T34" fmla="*/ 288 w 576"/>
              <a:gd name="T35" fmla="*/ 0 h 613"/>
              <a:gd name="T36" fmla="*/ 0 w 576"/>
              <a:gd name="T37" fmla="*/ 153 h 613"/>
              <a:gd name="T38" fmla="*/ 174 w 576"/>
              <a:gd name="T39" fmla="*/ 606 h 613"/>
              <a:gd name="T40" fmla="*/ 244 w 576"/>
              <a:gd name="T41" fmla="*/ 613 h 613"/>
              <a:gd name="T42" fmla="*/ 456 w 576"/>
              <a:gd name="T43" fmla="*/ 475 h 613"/>
              <a:gd name="T44" fmla="*/ 569 w 576"/>
              <a:gd name="T45" fmla="*/ 613 h 613"/>
              <a:gd name="T46" fmla="*/ 244 w 576"/>
              <a:gd name="T47" fmla="*/ 461 h 613"/>
              <a:gd name="T48" fmla="*/ 14 w 576"/>
              <a:gd name="T49" fmla="*/ 599 h 613"/>
              <a:gd name="T50" fmla="*/ 251 w 576"/>
              <a:gd name="T51" fmla="*/ 599 h 613"/>
              <a:gd name="T52" fmla="*/ 532 w 576"/>
              <a:gd name="T53" fmla="*/ 599 h 613"/>
              <a:gd name="T54" fmla="*/ 442 w 576"/>
              <a:gd name="T55" fmla="*/ 468 h 613"/>
              <a:gd name="T56" fmla="*/ 295 w 576"/>
              <a:gd name="T57" fmla="*/ 14 h 613"/>
              <a:gd name="T58" fmla="*/ 525 w 576"/>
              <a:gd name="T59" fmla="*/ 420 h 613"/>
              <a:gd name="T60" fmla="*/ 449 w 576"/>
              <a:gd name="T61" fmla="*/ 326 h 613"/>
              <a:gd name="T62" fmla="*/ 456 w 576"/>
              <a:gd name="T63" fmla="*/ 340 h 613"/>
              <a:gd name="T64" fmla="*/ 456 w 576"/>
              <a:gd name="T65" fmla="*/ 340 h 613"/>
              <a:gd name="T66" fmla="*/ 414 w 576"/>
              <a:gd name="T67" fmla="*/ 333 h 613"/>
              <a:gd name="T68" fmla="*/ 324 w 576"/>
              <a:gd name="T69" fmla="*/ 413 h 613"/>
              <a:gd name="T70" fmla="*/ 400 w 576"/>
              <a:gd name="T71" fmla="*/ 406 h 613"/>
              <a:gd name="T72" fmla="*/ 525 w 576"/>
              <a:gd name="T73" fmla="*/ 286 h 613"/>
              <a:gd name="T74" fmla="*/ 449 w 576"/>
              <a:gd name="T75" fmla="*/ 192 h 613"/>
              <a:gd name="T76" fmla="*/ 456 w 576"/>
              <a:gd name="T77" fmla="*/ 206 h 613"/>
              <a:gd name="T78" fmla="*/ 456 w 576"/>
              <a:gd name="T79" fmla="*/ 206 h 613"/>
              <a:gd name="T80" fmla="*/ 414 w 576"/>
              <a:gd name="T81" fmla="*/ 199 h 613"/>
              <a:gd name="T82" fmla="*/ 324 w 576"/>
              <a:gd name="T83" fmla="*/ 279 h 613"/>
              <a:gd name="T84" fmla="*/ 400 w 576"/>
              <a:gd name="T85" fmla="*/ 272 h 613"/>
              <a:gd name="T86" fmla="*/ 525 w 576"/>
              <a:gd name="T87" fmla="*/ 153 h 613"/>
              <a:gd name="T88" fmla="*/ 449 w 576"/>
              <a:gd name="T89" fmla="*/ 59 h 613"/>
              <a:gd name="T90" fmla="*/ 456 w 576"/>
              <a:gd name="T91" fmla="*/ 73 h 613"/>
              <a:gd name="T92" fmla="*/ 456 w 576"/>
              <a:gd name="T93" fmla="*/ 73 h 613"/>
              <a:gd name="T94" fmla="*/ 414 w 576"/>
              <a:gd name="T95" fmla="*/ 66 h 613"/>
              <a:gd name="T96" fmla="*/ 324 w 576"/>
              <a:gd name="T97" fmla="*/ 146 h 613"/>
              <a:gd name="T98" fmla="*/ 400 w 576"/>
              <a:gd name="T99" fmla="*/ 139 h 613"/>
              <a:gd name="T100" fmla="*/ 407 w 576"/>
              <a:gd name="T101" fmla="*/ 556 h 613"/>
              <a:gd name="T102" fmla="*/ 331 w 576"/>
              <a:gd name="T103" fmla="*/ 461 h 613"/>
              <a:gd name="T104" fmla="*/ 338 w 576"/>
              <a:gd name="T105" fmla="*/ 475 h 613"/>
              <a:gd name="T106" fmla="*/ 338 w 576"/>
              <a:gd name="T107" fmla="*/ 475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6" h="613">
                <a:moveTo>
                  <a:pt x="251" y="333"/>
                </a:moveTo>
                <a:cubicBezTo>
                  <a:pt x="251" y="329"/>
                  <a:pt x="248" y="326"/>
                  <a:pt x="244" y="326"/>
                </a:cubicBezTo>
                <a:cubicBezTo>
                  <a:pt x="167" y="326"/>
                  <a:pt x="167" y="326"/>
                  <a:pt x="167" y="326"/>
                </a:cubicBezTo>
                <a:cubicBezTo>
                  <a:pt x="164" y="326"/>
                  <a:pt x="160" y="329"/>
                  <a:pt x="160" y="333"/>
                </a:cubicBezTo>
                <a:cubicBezTo>
                  <a:pt x="160" y="413"/>
                  <a:pt x="160" y="413"/>
                  <a:pt x="160" y="413"/>
                </a:cubicBezTo>
                <a:cubicBezTo>
                  <a:pt x="160" y="417"/>
                  <a:pt x="164" y="420"/>
                  <a:pt x="167" y="420"/>
                </a:cubicBezTo>
                <a:cubicBezTo>
                  <a:pt x="244" y="420"/>
                  <a:pt x="244" y="420"/>
                  <a:pt x="244" y="420"/>
                </a:cubicBezTo>
                <a:cubicBezTo>
                  <a:pt x="248" y="420"/>
                  <a:pt x="251" y="417"/>
                  <a:pt x="251" y="413"/>
                </a:cubicBezTo>
                <a:lnTo>
                  <a:pt x="251" y="333"/>
                </a:lnTo>
                <a:close/>
                <a:moveTo>
                  <a:pt x="237" y="406"/>
                </a:moveTo>
                <a:cubicBezTo>
                  <a:pt x="174" y="406"/>
                  <a:pt x="174" y="406"/>
                  <a:pt x="174" y="406"/>
                </a:cubicBezTo>
                <a:cubicBezTo>
                  <a:pt x="174" y="340"/>
                  <a:pt x="174" y="340"/>
                  <a:pt x="174" y="340"/>
                </a:cubicBezTo>
                <a:cubicBezTo>
                  <a:pt x="237" y="340"/>
                  <a:pt x="237" y="340"/>
                  <a:pt x="237" y="340"/>
                </a:cubicBezTo>
                <a:lnTo>
                  <a:pt x="237" y="406"/>
                </a:lnTo>
                <a:close/>
                <a:moveTo>
                  <a:pt x="126" y="326"/>
                </a:moveTo>
                <a:cubicBezTo>
                  <a:pt x="50" y="326"/>
                  <a:pt x="50" y="326"/>
                  <a:pt x="50" y="326"/>
                </a:cubicBezTo>
                <a:cubicBezTo>
                  <a:pt x="46" y="326"/>
                  <a:pt x="43" y="329"/>
                  <a:pt x="43" y="333"/>
                </a:cubicBezTo>
                <a:cubicBezTo>
                  <a:pt x="43" y="413"/>
                  <a:pt x="43" y="413"/>
                  <a:pt x="43" y="413"/>
                </a:cubicBezTo>
                <a:cubicBezTo>
                  <a:pt x="43" y="417"/>
                  <a:pt x="46" y="420"/>
                  <a:pt x="50" y="420"/>
                </a:cubicBezTo>
                <a:cubicBezTo>
                  <a:pt x="126" y="420"/>
                  <a:pt x="126" y="420"/>
                  <a:pt x="126" y="420"/>
                </a:cubicBezTo>
                <a:cubicBezTo>
                  <a:pt x="130" y="420"/>
                  <a:pt x="133" y="417"/>
                  <a:pt x="133" y="413"/>
                </a:cubicBezTo>
                <a:cubicBezTo>
                  <a:pt x="133" y="333"/>
                  <a:pt x="133" y="333"/>
                  <a:pt x="133" y="333"/>
                </a:cubicBezTo>
                <a:cubicBezTo>
                  <a:pt x="133" y="329"/>
                  <a:pt x="130" y="326"/>
                  <a:pt x="126" y="326"/>
                </a:cubicBezTo>
                <a:close/>
                <a:moveTo>
                  <a:pt x="119" y="406"/>
                </a:moveTo>
                <a:cubicBezTo>
                  <a:pt x="57" y="406"/>
                  <a:pt x="57" y="406"/>
                  <a:pt x="57" y="406"/>
                </a:cubicBezTo>
                <a:cubicBezTo>
                  <a:pt x="57" y="340"/>
                  <a:pt x="57" y="340"/>
                  <a:pt x="57" y="340"/>
                </a:cubicBezTo>
                <a:cubicBezTo>
                  <a:pt x="119" y="340"/>
                  <a:pt x="119" y="340"/>
                  <a:pt x="119" y="340"/>
                </a:cubicBezTo>
                <a:lnTo>
                  <a:pt x="119" y="406"/>
                </a:lnTo>
                <a:close/>
                <a:moveTo>
                  <a:pt x="167" y="286"/>
                </a:moveTo>
                <a:cubicBezTo>
                  <a:pt x="244" y="286"/>
                  <a:pt x="244" y="286"/>
                  <a:pt x="244" y="286"/>
                </a:cubicBezTo>
                <a:cubicBezTo>
                  <a:pt x="248" y="286"/>
                  <a:pt x="251" y="283"/>
                  <a:pt x="251" y="279"/>
                </a:cubicBezTo>
                <a:cubicBezTo>
                  <a:pt x="251" y="199"/>
                  <a:pt x="251" y="199"/>
                  <a:pt x="251" y="199"/>
                </a:cubicBezTo>
                <a:cubicBezTo>
                  <a:pt x="251" y="195"/>
                  <a:pt x="248" y="192"/>
                  <a:pt x="244" y="192"/>
                </a:cubicBezTo>
                <a:cubicBezTo>
                  <a:pt x="167" y="192"/>
                  <a:pt x="167" y="192"/>
                  <a:pt x="167" y="192"/>
                </a:cubicBezTo>
                <a:cubicBezTo>
                  <a:pt x="164" y="192"/>
                  <a:pt x="160" y="195"/>
                  <a:pt x="160" y="199"/>
                </a:cubicBezTo>
                <a:cubicBezTo>
                  <a:pt x="160" y="279"/>
                  <a:pt x="160" y="279"/>
                  <a:pt x="160" y="279"/>
                </a:cubicBezTo>
                <a:cubicBezTo>
                  <a:pt x="160" y="283"/>
                  <a:pt x="164" y="286"/>
                  <a:pt x="167" y="286"/>
                </a:cubicBezTo>
                <a:close/>
                <a:moveTo>
                  <a:pt x="174" y="206"/>
                </a:moveTo>
                <a:cubicBezTo>
                  <a:pt x="237" y="206"/>
                  <a:pt x="237" y="206"/>
                  <a:pt x="237" y="206"/>
                </a:cubicBezTo>
                <a:cubicBezTo>
                  <a:pt x="237" y="272"/>
                  <a:pt x="237" y="272"/>
                  <a:pt x="237" y="272"/>
                </a:cubicBezTo>
                <a:cubicBezTo>
                  <a:pt x="174" y="272"/>
                  <a:pt x="174" y="272"/>
                  <a:pt x="174" y="272"/>
                </a:cubicBezTo>
                <a:lnTo>
                  <a:pt x="174" y="206"/>
                </a:lnTo>
                <a:close/>
                <a:moveTo>
                  <a:pt x="126" y="192"/>
                </a:moveTo>
                <a:cubicBezTo>
                  <a:pt x="50" y="192"/>
                  <a:pt x="50" y="192"/>
                  <a:pt x="50" y="192"/>
                </a:cubicBezTo>
                <a:cubicBezTo>
                  <a:pt x="46" y="192"/>
                  <a:pt x="43" y="195"/>
                  <a:pt x="43" y="199"/>
                </a:cubicBezTo>
                <a:cubicBezTo>
                  <a:pt x="43" y="279"/>
                  <a:pt x="43" y="279"/>
                  <a:pt x="43" y="279"/>
                </a:cubicBezTo>
                <a:cubicBezTo>
                  <a:pt x="43" y="283"/>
                  <a:pt x="46" y="286"/>
                  <a:pt x="50" y="286"/>
                </a:cubicBezTo>
                <a:cubicBezTo>
                  <a:pt x="126" y="286"/>
                  <a:pt x="126" y="286"/>
                  <a:pt x="126" y="286"/>
                </a:cubicBezTo>
                <a:cubicBezTo>
                  <a:pt x="130" y="286"/>
                  <a:pt x="133" y="283"/>
                  <a:pt x="133" y="279"/>
                </a:cubicBezTo>
                <a:cubicBezTo>
                  <a:pt x="133" y="199"/>
                  <a:pt x="133" y="199"/>
                  <a:pt x="133" y="199"/>
                </a:cubicBezTo>
                <a:cubicBezTo>
                  <a:pt x="133" y="195"/>
                  <a:pt x="130" y="192"/>
                  <a:pt x="126" y="192"/>
                </a:cubicBezTo>
                <a:close/>
                <a:moveTo>
                  <a:pt x="119" y="272"/>
                </a:moveTo>
                <a:cubicBezTo>
                  <a:pt x="57" y="272"/>
                  <a:pt x="57" y="272"/>
                  <a:pt x="57" y="272"/>
                </a:cubicBezTo>
                <a:cubicBezTo>
                  <a:pt x="57" y="206"/>
                  <a:pt x="57" y="206"/>
                  <a:pt x="57" y="206"/>
                </a:cubicBezTo>
                <a:cubicBezTo>
                  <a:pt x="119" y="206"/>
                  <a:pt x="119" y="206"/>
                  <a:pt x="119" y="206"/>
                </a:cubicBezTo>
                <a:lnTo>
                  <a:pt x="119" y="272"/>
                </a:lnTo>
                <a:close/>
                <a:moveTo>
                  <a:pt x="126" y="461"/>
                </a:moveTo>
                <a:cubicBezTo>
                  <a:pt x="50" y="461"/>
                  <a:pt x="50" y="461"/>
                  <a:pt x="50" y="461"/>
                </a:cubicBezTo>
                <a:cubicBezTo>
                  <a:pt x="46" y="461"/>
                  <a:pt x="43" y="465"/>
                  <a:pt x="43" y="468"/>
                </a:cubicBezTo>
                <a:cubicBezTo>
                  <a:pt x="43" y="549"/>
                  <a:pt x="43" y="549"/>
                  <a:pt x="43" y="549"/>
                </a:cubicBezTo>
                <a:cubicBezTo>
                  <a:pt x="43" y="553"/>
                  <a:pt x="46" y="556"/>
                  <a:pt x="50" y="556"/>
                </a:cubicBezTo>
                <a:cubicBezTo>
                  <a:pt x="126" y="556"/>
                  <a:pt x="126" y="556"/>
                  <a:pt x="126" y="556"/>
                </a:cubicBezTo>
                <a:cubicBezTo>
                  <a:pt x="130" y="556"/>
                  <a:pt x="133" y="553"/>
                  <a:pt x="133" y="549"/>
                </a:cubicBezTo>
                <a:cubicBezTo>
                  <a:pt x="133" y="468"/>
                  <a:pt x="133" y="468"/>
                  <a:pt x="133" y="468"/>
                </a:cubicBezTo>
                <a:cubicBezTo>
                  <a:pt x="133" y="465"/>
                  <a:pt x="130" y="461"/>
                  <a:pt x="126" y="461"/>
                </a:cubicBezTo>
                <a:close/>
                <a:moveTo>
                  <a:pt x="119" y="542"/>
                </a:moveTo>
                <a:cubicBezTo>
                  <a:pt x="57" y="542"/>
                  <a:pt x="57" y="542"/>
                  <a:pt x="57" y="542"/>
                </a:cubicBezTo>
                <a:cubicBezTo>
                  <a:pt x="57" y="475"/>
                  <a:pt x="57" y="475"/>
                  <a:pt x="57" y="475"/>
                </a:cubicBezTo>
                <a:cubicBezTo>
                  <a:pt x="119" y="475"/>
                  <a:pt x="119" y="475"/>
                  <a:pt x="119" y="475"/>
                </a:cubicBezTo>
                <a:lnTo>
                  <a:pt x="119" y="542"/>
                </a:lnTo>
                <a:close/>
                <a:moveTo>
                  <a:pt x="569" y="0"/>
                </a:moveTo>
                <a:cubicBezTo>
                  <a:pt x="288" y="0"/>
                  <a:pt x="288" y="0"/>
                  <a:pt x="288" y="0"/>
                </a:cubicBezTo>
                <a:cubicBezTo>
                  <a:pt x="284" y="0"/>
                  <a:pt x="281" y="3"/>
                  <a:pt x="281" y="7"/>
                </a:cubicBezTo>
                <a:cubicBezTo>
                  <a:pt x="281" y="146"/>
                  <a:pt x="281" y="146"/>
                  <a:pt x="281" y="146"/>
                </a:cubicBezTo>
                <a:cubicBezTo>
                  <a:pt x="7" y="146"/>
                  <a:pt x="7" y="146"/>
                  <a:pt x="7" y="146"/>
                </a:cubicBezTo>
                <a:cubicBezTo>
                  <a:pt x="3" y="146"/>
                  <a:pt x="0" y="149"/>
                  <a:pt x="0" y="153"/>
                </a:cubicBezTo>
                <a:cubicBezTo>
                  <a:pt x="0" y="606"/>
                  <a:pt x="0" y="606"/>
                  <a:pt x="0" y="606"/>
                </a:cubicBezTo>
                <a:cubicBezTo>
                  <a:pt x="0" y="609"/>
                  <a:pt x="3" y="613"/>
                  <a:pt x="7" y="613"/>
                </a:cubicBezTo>
                <a:cubicBezTo>
                  <a:pt x="167" y="613"/>
                  <a:pt x="167" y="613"/>
                  <a:pt x="167" y="613"/>
                </a:cubicBezTo>
                <a:cubicBezTo>
                  <a:pt x="171" y="613"/>
                  <a:pt x="174" y="609"/>
                  <a:pt x="174" y="606"/>
                </a:cubicBezTo>
                <a:cubicBezTo>
                  <a:pt x="174" y="475"/>
                  <a:pt x="174" y="475"/>
                  <a:pt x="174" y="475"/>
                </a:cubicBezTo>
                <a:cubicBezTo>
                  <a:pt x="237" y="475"/>
                  <a:pt x="237" y="475"/>
                  <a:pt x="237" y="475"/>
                </a:cubicBezTo>
                <a:cubicBezTo>
                  <a:pt x="237" y="606"/>
                  <a:pt x="237" y="606"/>
                  <a:pt x="237" y="606"/>
                </a:cubicBezTo>
                <a:cubicBezTo>
                  <a:pt x="237" y="609"/>
                  <a:pt x="240" y="613"/>
                  <a:pt x="244" y="613"/>
                </a:cubicBezTo>
                <a:cubicBezTo>
                  <a:pt x="288" y="613"/>
                  <a:pt x="288" y="613"/>
                  <a:pt x="288" y="613"/>
                </a:cubicBezTo>
                <a:cubicBezTo>
                  <a:pt x="449" y="613"/>
                  <a:pt x="449" y="613"/>
                  <a:pt x="449" y="613"/>
                </a:cubicBezTo>
                <a:cubicBezTo>
                  <a:pt x="453" y="613"/>
                  <a:pt x="456" y="609"/>
                  <a:pt x="456" y="606"/>
                </a:cubicBezTo>
                <a:cubicBezTo>
                  <a:pt x="456" y="475"/>
                  <a:pt x="456" y="475"/>
                  <a:pt x="456" y="475"/>
                </a:cubicBezTo>
                <a:cubicBezTo>
                  <a:pt x="518" y="475"/>
                  <a:pt x="518" y="475"/>
                  <a:pt x="518" y="475"/>
                </a:cubicBezTo>
                <a:cubicBezTo>
                  <a:pt x="518" y="606"/>
                  <a:pt x="518" y="606"/>
                  <a:pt x="518" y="606"/>
                </a:cubicBezTo>
                <a:cubicBezTo>
                  <a:pt x="518" y="609"/>
                  <a:pt x="521" y="613"/>
                  <a:pt x="525" y="613"/>
                </a:cubicBezTo>
                <a:cubicBezTo>
                  <a:pt x="569" y="613"/>
                  <a:pt x="569" y="613"/>
                  <a:pt x="569" y="613"/>
                </a:cubicBezTo>
                <a:cubicBezTo>
                  <a:pt x="573" y="613"/>
                  <a:pt x="576" y="609"/>
                  <a:pt x="576" y="606"/>
                </a:cubicBezTo>
                <a:cubicBezTo>
                  <a:pt x="576" y="7"/>
                  <a:pt x="576" y="7"/>
                  <a:pt x="576" y="7"/>
                </a:cubicBezTo>
                <a:cubicBezTo>
                  <a:pt x="576" y="3"/>
                  <a:pt x="573" y="0"/>
                  <a:pt x="569" y="0"/>
                </a:cubicBezTo>
                <a:close/>
                <a:moveTo>
                  <a:pt x="244" y="461"/>
                </a:moveTo>
                <a:cubicBezTo>
                  <a:pt x="167" y="461"/>
                  <a:pt x="167" y="461"/>
                  <a:pt x="167" y="461"/>
                </a:cubicBezTo>
                <a:cubicBezTo>
                  <a:pt x="164" y="461"/>
                  <a:pt x="160" y="465"/>
                  <a:pt x="160" y="468"/>
                </a:cubicBezTo>
                <a:cubicBezTo>
                  <a:pt x="160" y="599"/>
                  <a:pt x="160" y="599"/>
                  <a:pt x="160" y="599"/>
                </a:cubicBezTo>
                <a:cubicBezTo>
                  <a:pt x="14" y="599"/>
                  <a:pt x="14" y="599"/>
                  <a:pt x="14" y="599"/>
                </a:cubicBezTo>
                <a:cubicBezTo>
                  <a:pt x="14" y="160"/>
                  <a:pt x="14" y="160"/>
                  <a:pt x="14" y="160"/>
                </a:cubicBezTo>
                <a:cubicBezTo>
                  <a:pt x="281" y="160"/>
                  <a:pt x="281" y="160"/>
                  <a:pt x="281" y="160"/>
                </a:cubicBezTo>
                <a:cubicBezTo>
                  <a:pt x="281" y="599"/>
                  <a:pt x="281" y="599"/>
                  <a:pt x="281" y="599"/>
                </a:cubicBezTo>
                <a:cubicBezTo>
                  <a:pt x="251" y="599"/>
                  <a:pt x="251" y="599"/>
                  <a:pt x="251" y="599"/>
                </a:cubicBezTo>
                <a:cubicBezTo>
                  <a:pt x="251" y="468"/>
                  <a:pt x="251" y="468"/>
                  <a:pt x="251" y="468"/>
                </a:cubicBezTo>
                <a:cubicBezTo>
                  <a:pt x="251" y="465"/>
                  <a:pt x="248" y="461"/>
                  <a:pt x="244" y="461"/>
                </a:cubicBezTo>
                <a:close/>
                <a:moveTo>
                  <a:pt x="562" y="599"/>
                </a:moveTo>
                <a:cubicBezTo>
                  <a:pt x="532" y="599"/>
                  <a:pt x="532" y="599"/>
                  <a:pt x="532" y="599"/>
                </a:cubicBezTo>
                <a:cubicBezTo>
                  <a:pt x="532" y="468"/>
                  <a:pt x="532" y="468"/>
                  <a:pt x="532" y="468"/>
                </a:cubicBezTo>
                <a:cubicBezTo>
                  <a:pt x="532" y="465"/>
                  <a:pt x="529" y="461"/>
                  <a:pt x="525" y="461"/>
                </a:cubicBezTo>
                <a:cubicBezTo>
                  <a:pt x="449" y="461"/>
                  <a:pt x="449" y="461"/>
                  <a:pt x="449" y="461"/>
                </a:cubicBezTo>
                <a:cubicBezTo>
                  <a:pt x="445" y="461"/>
                  <a:pt x="442" y="465"/>
                  <a:pt x="442" y="468"/>
                </a:cubicBezTo>
                <a:cubicBezTo>
                  <a:pt x="442" y="599"/>
                  <a:pt x="442" y="599"/>
                  <a:pt x="442" y="599"/>
                </a:cubicBezTo>
                <a:cubicBezTo>
                  <a:pt x="295" y="599"/>
                  <a:pt x="295" y="599"/>
                  <a:pt x="295" y="599"/>
                </a:cubicBezTo>
                <a:cubicBezTo>
                  <a:pt x="295" y="153"/>
                  <a:pt x="295" y="153"/>
                  <a:pt x="295" y="153"/>
                </a:cubicBezTo>
                <a:cubicBezTo>
                  <a:pt x="295" y="14"/>
                  <a:pt x="295" y="14"/>
                  <a:pt x="295" y="14"/>
                </a:cubicBezTo>
                <a:cubicBezTo>
                  <a:pt x="562" y="14"/>
                  <a:pt x="562" y="14"/>
                  <a:pt x="562" y="14"/>
                </a:cubicBezTo>
                <a:lnTo>
                  <a:pt x="562" y="599"/>
                </a:lnTo>
                <a:close/>
                <a:moveTo>
                  <a:pt x="449" y="420"/>
                </a:moveTo>
                <a:cubicBezTo>
                  <a:pt x="525" y="420"/>
                  <a:pt x="525" y="420"/>
                  <a:pt x="525" y="420"/>
                </a:cubicBezTo>
                <a:cubicBezTo>
                  <a:pt x="529" y="420"/>
                  <a:pt x="532" y="417"/>
                  <a:pt x="532" y="413"/>
                </a:cubicBezTo>
                <a:cubicBezTo>
                  <a:pt x="532" y="333"/>
                  <a:pt x="532" y="333"/>
                  <a:pt x="532" y="333"/>
                </a:cubicBezTo>
                <a:cubicBezTo>
                  <a:pt x="532" y="329"/>
                  <a:pt x="529" y="326"/>
                  <a:pt x="525" y="326"/>
                </a:cubicBezTo>
                <a:cubicBezTo>
                  <a:pt x="449" y="326"/>
                  <a:pt x="449" y="326"/>
                  <a:pt x="449" y="326"/>
                </a:cubicBezTo>
                <a:cubicBezTo>
                  <a:pt x="445" y="326"/>
                  <a:pt x="442" y="329"/>
                  <a:pt x="442" y="333"/>
                </a:cubicBezTo>
                <a:cubicBezTo>
                  <a:pt x="442" y="413"/>
                  <a:pt x="442" y="413"/>
                  <a:pt x="442" y="413"/>
                </a:cubicBezTo>
                <a:cubicBezTo>
                  <a:pt x="442" y="417"/>
                  <a:pt x="445" y="420"/>
                  <a:pt x="449" y="420"/>
                </a:cubicBezTo>
                <a:close/>
                <a:moveTo>
                  <a:pt x="456" y="340"/>
                </a:moveTo>
                <a:cubicBezTo>
                  <a:pt x="518" y="340"/>
                  <a:pt x="518" y="340"/>
                  <a:pt x="518" y="340"/>
                </a:cubicBezTo>
                <a:cubicBezTo>
                  <a:pt x="518" y="406"/>
                  <a:pt x="518" y="406"/>
                  <a:pt x="518" y="406"/>
                </a:cubicBezTo>
                <a:cubicBezTo>
                  <a:pt x="456" y="406"/>
                  <a:pt x="456" y="406"/>
                  <a:pt x="456" y="406"/>
                </a:cubicBezTo>
                <a:lnTo>
                  <a:pt x="456" y="340"/>
                </a:lnTo>
                <a:close/>
                <a:moveTo>
                  <a:pt x="331" y="420"/>
                </a:moveTo>
                <a:cubicBezTo>
                  <a:pt x="407" y="420"/>
                  <a:pt x="407" y="420"/>
                  <a:pt x="407" y="420"/>
                </a:cubicBezTo>
                <a:cubicBezTo>
                  <a:pt x="411" y="420"/>
                  <a:pt x="414" y="417"/>
                  <a:pt x="414" y="413"/>
                </a:cubicBezTo>
                <a:cubicBezTo>
                  <a:pt x="414" y="333"/>
                  <a:pt x="414" y="333"/>
                  <a:pt x="414" y="333"/>
                </a:cubicBezTo>
                <a:cubicBezTo>
                  <a:pt x="414" y="329"/>
                  <a:pt x="411" y="326"/>
                  <a:pt x="407" y="326"/>
                </a:cubicBezTo>
                <a:cubicBezTo>
                  <a:pt x="331" y="326"/>
                  <a:pt x="331" y="326"/>
                  <a:pt x="331" y="326"/>
                </a:cubicBezTo>
                <a:cubicBezTo>
                  <a:pt x="327" y="326"/>
                  <a:pt x="324" y="329"/>
                  <a:pt x="324" y="333"/>
                </a:cubicBezTo>
                <a:cubicBezTo>
                  <a:pt x="324" y="413"/>
                  <a:pt x="324" y="413"/>
                  <a:pt x="324" y="413"/>
                </a:cubicBezTo>
                <a:cubicBezTo>
                  <a:pt x="324" y="417"/>
                  <a:pt x="327" y="420"/>
                  <a:pt x="331" y="420"/>
                </a:cubicBezTo>
                <a:close/>
                <a:moveTo>
                  <a:pt x="338" y="340"/>
                </a:moveTo>
                <a:cubicBezTo>
                  <a:pt x="400" y="340"/>
                  <a:pt x="400" y="340"/>
                  <a:pt x="400" y="340"/>
                </a:cubicBezTo>
                <a:cubicBezTo>
                  <a:pt x="400" y="406"/>
                  <a:pt x="400" y="406"/>
                  <a:pt x="400" y="406"/>
                </a:cubicBezTo>
                <a:cubicBezTo>
                  <a:pt x="338" y="406"/>
                  <a:pt x="338" y="406"/>
                  <a:pt x="338" y="406"/>
                </a:cubicBezTo>
                <a:lnTo>
                  <a:pt x="338" y="340"/>
                </a:lnTo>
                <a:close/>
                <a:moveTo>
                  <a:pt x="449" y="286"/>
                </a:moveTo>
                <a:cubicBezTo>
                  <a:pt x="525" y="286"/>
                  <a:pt x="525" y="286"/>
                  <a:pt x="525" y="286"/>
                </a:cubicBezTo>
                <a:cubicBezTo>
                  <a:pt x="529" y="286"/>
                  <a:pt x="532" y="283"/>
                  <a:pt x="532" y="279"/>
                </a:cubicBezTo>
                <a:cubicBezTo>
                  <a:pt x="532" y="199"/>
                  <a:pt x="532" y="199"/>
                  <a:pt x="532" y="199"/>
                </a:cubicBezTo>
                <a:cubicBezTo>
                  <a:pt x="532" y="195"/>
                  <a:pt x="529" y="192"/>
                  <a:pt x="525" y="192"/>
                </a:cubicBezTo>
                <a:cubicBezTo>
                  <a:pt x="449" y="192"/>
                  <a:pt x="449" y="192"/>
                  <a:pt x="449" y="192"/>
                </a:cubicBezTo>
                <a:cubicBezTo>
                  <a:pt x="445" y="192"/>
                  <a:pt x="442" y="195"/>
                  <a:pt x="442" y="199"/>
                </a:cubicBezTo>
                <a:cubicBezTo>
                  <a:pt x="442" y="279"/>
                  <a:pt x="442" y="279"/>
                  <a:pt x="442" y="279"/>
                </a:cubicBezTo>
                <a:cubicBezTo>
                  <a:pt x="442" y="283"/>
                  <a:pt x="445" y="286"/>
                  <a:pt x="449" y="286"/>
                </a:cubicBezTo>
                <a:close/>
                <a:moveTo>
                  <a:pt x="456" y="206"/>
                </a:moveTo>
                <a:cubicBezTo>
                  <a:pt x="518" y="206"/>
                  <a:pt x="518" y="206"/>
                  <a:pt x="518" y="206"/>
                </a:cubicBezTo>
                <a:cubicBezTo>
                  <a:pt x="518" y="272"/>
                  <a:pt x="518" y="272"/>
                  <a:pt x="518" y="272"/>
                </a:cubicBezTo>
                <a:cubicBezTo>
                  <a:pt x="456" y="272"/>
                  <a:pt x="456" y="272"/>
                  <a:pt x="456" y="272"/>
                </a:cubicBezTo>
                <a:lnTo>
                  <a:pt x="456" y="206"/>
                </a:lnTo>
                <a:close/>
                <a:moveTo>
                  <a:pt x="331" y="286"/>
                </a:moveTo>
                <a:cubicBezTo>
                  <a:pt x="407" y="286"/>
                  <a:pt x="407" y="286"/>
                  <a:pt x="407" y="286"/>
                </a:cubicBezTo>
                <a:cubicBezTo>
                  <a:pt x="411" y="286"/>
                  <a:pt x="414" y="283"/>
                  <a:pt x="414" y="279"/>
                </a:cubicBezTo>
                <a:cubicBezTo>
                  <a:pt x="414" y="199"/>
                  <a:pt x="414" y="199"/>
                  <a:pt x="414" y="199"/>
                </a:cubicBezTo>
                <a:cubicBezTo>
                  <a:pt x="414" y="195"/>
                  <a:pt x="411" y="192"/>
                  <a:pt x="407" y="192"/>
                </a:cubicBezTo>
                <a:cubicBezTo>
                  <a:pt x="331" y="192"/>
                  <a:pt x="331" y="192"/>
                  <a:pt x="331" y="192"/>
                </a:cubicBezTo>
                <a:cubicBezTo>
                  <a:pt x="327" y="192"/>
                  <a:pt x="324" y="195"/>
                  <a:pt x="324" y="199"/>
                </a:cubicBezTo>
                <a:cubicBezTo>
                  <a:pt x="324" y="279"/>
                  <a:pt x="324" y="279"/>
                  <a:pt x="324" y="279"/>
                </a:cubicBezTo>
                <a:cubicBezTo>
                  <a:pt x="324" y="283"/>
                  <a:pt x="327" y="286"/>
                  <a:pt x="331" y="286"/>
                </a:cubicBezTo>
                <a:close/>
                <a:moveTo>
                  <a:pt x="338" y="206"/>
                </a:moveTo>
                <a:cubicBezTo>
                  <a:pt x="400" y="206"/>
                  <a:pt x="400" y="206"/>
                  <a:pt x="400" y="206"/>
                </a:cubicBezTo>
                <a:cubicBezTo>
                  <a:pt x="400" y="272"/>
                  <a:pt x="400" y="272"/>
                  <a:pt x="400" y="272"/>
                </a:cubicBezTo>
                <a:cubicBezTo>
                  <a:pt x="338" y="272"/>
                  <a:pt x="338" y="272"/>
                  <a:pt x="338" y="272"/>
                </a:cubicBezTo>
                <a:lnTo>
                  <a:pt x="338" y="206"/>
                </a:lnTo>
                <a:close/>
                <a:moveTo>
                  <a:pt x="449" y="153"/>
                </a:moveTo>
                <a:cubicBezTo>
                  <a:pt x="525" y="153"/>
                  <a:pt x="525" y="153"/>
                  <a:pt x="525" y="153"/>
                </a:cubicBezTo>
                <a:cubicBezTo>
                  <a:pt x="529" y="153"/>
                  <a:pt x="532" y="150"/>
                  <a:pt x="532" y="146"/>
                </a:cubicBezTo>
                <a:cubicBezTo>
                  <a:pt x="532" y="66"/>
                  <a:pt x="532" y="66"/>
                  <a:pt x="532" y="66"/>
                </a:cubicBezTo>
                <a:cubicBezTo>
                  <a:pt x="532" y="62"/>
                  <a:pt x="529" y="59"/>
                  <a:pt x="525" y="59"/>
                </a:cubicBezTo>
                <a:cubicBezTo>
                  <a:pt x="449" y="59"/>
                  <a:pt x="449" y="59"/>
                  <a:pt x="449" y="59"/>
                </a:cubicBezTo>
                <a:cubicBezTo>
                  <a:pt x="445" y="59"/>
                  <a:pt x="442" y="62"/>
                  <a:pt x="442" y="66"/>
                </a:cubicBezTo>
                <a:cubicBezTo>
                  <a:pt x="442" y="146"/>
                  <a:pt x="442" y="146"/>
                  <a:pt x="442" y="146"/>
                </a:cubicBezTo>
                <a:cubicBezTo>
                  <a:pt x="442" y="150"/>
                  <a:pt x="445" y="153"/>
                  <a:pt x="449" y="153"/>
                </a:cubicBezTo>
                <a:close/>
                <a:moveTo>
                  <a:pt x="456" y="73"/>
                </a:moveTo>
                <a:cubicBezTo>
                  <a:pt x="518" y="73"/>
                  <a:pt x="518" y="73"/>
                  <a:pt x="518" y="73"/>
                </a:cubicBezTo>
                <a:cubicBezTo>
                  <a:pt x="518" y="139"/>
                  <a:pt x="518" y="139"/>
                  <a:pt x="518" y="139"/>
                </a:cubicBezTo>
                <a:cubicBezTo>
                  <a:pt x="456" y="139"/>
                  <a:pt x="456" y="139"/>
                  <a:pt x="456" y="139"/>
                </a:cubicBezTo>
                <a:lnTo>
                  <a:pt x="456" y="73"/>
                </a:lnTo>
                <a:close/>
                <a:moveTo>
                  <a:pt x="331" y="153"/>
                </a:moveTo>
                <a:cubicBezTo>
                  <a:pt x="407" y="153"/>
                  <a:pt x="407" y="153"/>
                  <a:pt x="407" y="153"/>
                </a:cubicBezTo>
                <a:cubicBezTo>
                  <a:pt x="411" y="153"/>
                  <a:pt x="414" y="150"/>
                  <a:pt x="414" y="146"/>
                </a:cubicBezTo>
                <a:cubicBezTo>
                  <a:pt x="414" y="66"/>
                  <a:pt x="414" y="66"/>
                  <a:pt x="414" y="66"/>
                </a:cubicBezTo>
                <a:cubicBezTo>
                  <a:pt x="414" y="62"/>
                  <a:pt x="411" y="59"/>
                  <a:pt x="407" y="59"/>
                </a:cubicBezTo>
                <a:cubicBezTo>
                  <a:pt x="331" y="59"/>
                  <a:pt x="331" y="59"/>
                  <a:pt x="331" y="59"/>
                </a:cubicBezTo>
                <a:cubicBezTo>
                  <a:pt x="327" y="59"/>
                  <a:pt x="324" y="62"/>
                  <a:pt x="324" y="66"/>
                </a:cubicBezTo>
                <a:cubicBezTo>
                  <a:pt x="324" y="146"/>
                  <a:pt x="324" y="146"/>
                  <a:pt x="324" y="146"/>
                </a:cubicBezTo>
                <a:cubicBezTo>
                  <a:pt x="324" y="150"/>
                  <a:pt x="327" y="153"/>
                  <a:pt x="331" y="153"/>
                </a:cubicBezTo>
                <a:close/>
                <a:moveTo>
                  <a:pt x="338" y="73"/>
                </a:moveTo>
                <a:cubicBezTo>
                  <a:pt x="400" y="73"/>
                  <a:pt x="400" y="73"/>
                  <a:pt x="400" y="73"/>
                </a:cubicBezTo>
                <a:cubicBezTo>
                  <a:pt x="400" y="139"/>
                  <a:pt x="400" y="139"/>
                  <a:pt x="400" y="139"/>
                </a:cubicBezTo>
                <a:cubicBezTo>
                  <a:pt x="338" y="139"/>
                  <a:pt x="338" y="139"/>
                  <a:pt x="338" y="139"/>
                </a:cubicBezTo>
                <a:lnTo>
                  <a:pt x="338" y="73"/>
                </a:lnTo>
                <a:close/>
                <a:moveTo>
                  <a:pt x="331" y="556"/>
                </a:moveTo>
                <a:cubicBezTo>
                  <a:pt x="407" y="556"/>
                  <a:pt x="407" y="556"/>
                  <a:pt x="407" y="556"/>
                </a:cubicBezTo>
                <a:cubicBezTo>
                  <a:pt x="411" y="556"/>
                  <a:pt x="414" y="553"/>
                  <a:pt x="414" y="549"/>
                </a:cubicBezTo>
                <a:cubicBezTo>
                  <a:pt x="414" y="468"/>
                  <a:pt x="414" y="468"/>
                  <a:pt x="414" y="468"/>
                </a:cubicBezTo>
                <a:cubicBezTo>
                  <a:pt x="414" y="465"/>
                  <a:pt x="411" y="461"/>
                  <a:pt x="407" y="461"/>
                </a:cubicBezTo>
                <a:cubicBezTo>
                  <a:pt x="331" y="461"/>
                  <a:pt x="331" y="461"/>
                  <a:pt x="331" y="461"/>
                </a:cubicBezTo>
                <a:cubicBezTo>
                  <a:pt x="327" y="461"/>
                  <a:pt x="324" y="465"/>
                  <a:pt x="324" y="468"/>
                </a:cubicBezTo>
                <a:cubicBezTo>
                  <a:pt x="324" y="549"/>
                  <a:pt x="324" y="549"/>
                  <a:pt x="324" y="549"/>
                </a:cubicBezTo>
                <a:cubicBezTo>
                  <a:pt x="324" y="553"/>
                  <a:pt x="327" y="556"/>
                  <a:pt x="331" y="556"/>
                </a:cubicBezTo>
                <a:close/>
                <a:moveTo>
                  <a:pt x="338" y="475"/>
                </a:moveTo>
                <a:cubicBezTo>
                  <a:pt x="400" y="475"/>
                  <a:pt x="400" y="475"/>
                  <a:pt x="400" y="475"/>
                </a:cubicBezTo>
                <a:cubicBezTo>
                  <a:pt x="400" y="542"/>
                  <a:pt x="400" y="542"/>
                  <a:pt x="400" y="542"/>
                </a:cubicBezTo>
                <a:cubicBezTo>
                  <a:pt x="338" y="542"/>
                  <a:pt x="338" y="542"/>
                  <a:pt x="338" y="542"/>
                </a:cubicBezTo>
                <a:lnTo>
                  <a:pt x="338" y="475"/>
                </a:ln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8" name="Freeform 104">
            <a:extLst>
              <a:ext uri="{FF2B5EF4-FFF2-40B4-BE49-F238E27FC236}">
                <a16:creationId xmlns:a16="http://schemas.microsoft.com/office/drawing/2014/main" id="{06A6715C-2376-29B3-CF68-E1F1579EED35}"/>
              </a:ext>
            </a:extLst>
          </p:cNvPr>
          <p:cNvSpPr>
            <a:spLocks noEditPoints="1"/>
          </p:cNvSpPr>
          <p:nvPr/>
        </p:nvSpPr>
        <p:spPr bwMode="auto">
          <a:xfrm>
            <a:off x="3535460" y="5415748"/>
            <a:ext cx="332538" cy="337352"/>
          </a:xfrm>
          <a:custGeom>
            <a:avLst/>
            <a:gdLst>
              <a:gd name="T0" fmla="*/ 404 w 574"/>
              <a:gd name="T1" fmla="*/ 0 h 581"/>
              <a:gd name="T2" fmla="*/ 234 w 574"/>
              <a:gd name="T3" fmla="*/ 63 h 581"/>
              <a:gd name="T4" fmla="*/ 170 w 574"/>
              <a:gd name="T5" fmla="*/ 206 h 581"/>
              <a:gd name="T6" fmla="*/ 0 w 574"/>
              <a:gd name="T7" fmla="*/ 268 h 581"/>
              <a:gd name="T8" fmla="*/ 52 w 574"/>
              <a:gd name="T9" fmla="*/ 565 h 581"/>
              <a:gd name="T10" fmla="*/ 288 w 574"/>
              <a:gd name="T11" fmla="*/ 565 h 581"/>
              <a:gd name="T12" fmla="*/ 340 w 574"/>
              <a:gd name="T13" fmla="*/ 467 h 581"/>
              <a:gd name="T14" fmla="*/ 522 w 574"/>
              <a:gd name="T15" fmla="*/ 455 h 581"/>
              <a:gd name="T16" fmla="*/ 574 w 574"/>
              <a:gd name="T17" fmla="*/ 63 h 581"/>
              <a:gd name="T18" fmla="*/ 560 w 574"/>
              <a:gd name="T19" fmla="*/ 329 h 581"/>
              <a:gd name="T20" fmla="*/ 340 w 574"/>
              <a:gd name="T21" fmla="*/ 372 h 581"/>
              <a:gd name="T22" fmla="*/ 404 w 574"/>
              <a:gd name="T23" fmla="*/ 305 h 581"/>
              <a:gd name="T24" fmla="*/ 560 w 574"/>
              <a:gd name="T25" fmla="*/ 269 h 581"/>
              <a:gd name="T26" fmla="*/ 326 w 574"/>
              <a:gd name="T27" fmla="*/ 294 h 581"/>
              <a:gd name="T28" fmla="*/ 170 w 574"/>
              <a:gd name="T29" fmla="*/ 406 h 581"/>
              <a:gd name="T30" fmla="*/ 14 w 574"/>
              <a:gd name="T31" fmla="*/ 294 h 581"/>
              <a:gd name="T32" fmla="*/ 170 w 574"/>
              <a:gd name="T33" fmla="*/ 331 h 581"/>
              <a:gd name="T34" fmla="*/ 326 w 574"/>
              <a:gd name="T35" fmla="*/ 294 h 581"/>
              <a:gd name="T36" fmla="*/ 52 w 574"/>
              <a:gd name="T37" fmla="*/ 403 h 581"/>
              <a:gd name="T38" fmla="*/ 288 w 574"/>
              <a:gd name="T39" fmla="*/ 403 h 581"/>
              <a:gd name="T40" fmla="*/ 326 w 574"/>
              <a:gd name="T41" fmla="*/ 438 h 581"/>
              <a:gd name="T42" fmla="*/ 14 w 574"/>
              <a:gd name="T43" fmla="*/ 438 h 581"/>
              <a:gd name="T44" fmla="*/ 560 w 574"/>
              <a:gd name="T45" fmla="*/ 158 h 581"/>
              <a:gd name="T46" fmla="*/ 248 w 574"/>
              <a:gd name="T47" fmla="*/ 158 h 581"/>
              <a:gd name="T48" fmla="*/ 287 w 574"/>
              <a:gd name="T49" fmla="*/ 108 h 581"/>
              <a:gd name="T50" fmla="*/ 522 w 574"/>
              <a:gd name="T51" fmla="*/ 108 h 581"/>
              <a:gd name="T52" fmla="*/ 560 w 574"/>
              <a:gd name="T53" fmla="*/ 158 h 581"/>
              <a:gd name="T54" fmla="*/ 560 w 574"/>
              <a:gd name="T55" fmla="*/ 63 h 581"/>
              <a:gd name="T56" fmla="*/ 248 w 574"/>
              <a:gd name="T57" fmla="*/ 63 h 581"/>
              <a:gd name="T58" fmla="*/ 248 w 574"/>
              <a:gd name="T59" fmla="*/ 183 h 581"/>
              <a:gd name="T60" fmla="*/ 404 w 574"/>
              <a:gd name="T61" fmla="*/ 220 h 581"/>
              <a:gd name="T62" fmla="*/ 560 w 574"/>
              <a:gd name="T63" fmla="*/ 183 h 581"/>
              <a:gd name="T64" fmla="*/ 404 w 574"/>
              <a:gd name="T65" fmla="*/ 291 h 581"/>
              <a:gd name="T66" fmla="*/ 340 w 574"/>
              <a:gd name="T67" fmla="*/ 268 h 581"/>
              <a:gd name="T68" fmla="*/ 248 w 574"/>
              <a:gd name="T69" fmla="*/ 213 h 581"/>
              <a:gd name="T70" fmla="*/ 170 w 574"/>
              <a:gd name="T71" fmla="*/ 220 h 581"/>
              <a:gd name="T72" fmla="*/ 240 w 574"/>
              <a:gd name="T73" fmla="*/ 226 h 581"/>
              <a:gd name="T74" fmla="*/ 170 w 574"/>
              <a:gd name="T75" fmla="*/ 317 h 581"/>
              <a:gd name="T76" fmla="*/ 170 w 574"/>
              <a:gd name="T77" fmla="*/ 220 h 581"/>
              <a:gd name="T78" fmla="*/ 14 w 574"/>
              <a:gd name="T79" fmla="*/ 519 h 581"/>
              <a:gd name="T80" fmla="*/ 52 w 574"/>
              <a:gd name="T81" fmla="*/ 484 h 581"/>
              <a:gd name="T82" fmla="*/ 288 w 574"/>
              <a:gd name="T83" fmla="*/ 484 h 581"/>
              <a:gd name="T84" fmla="*/ 326 w 574"/>
              <a:gd name="T85" fmla="*/ 519 h 581"/>
              <a:gd name="T86" fmla="*/ 404 w 574"/>
              <a:gd name="T87" fmla="*/ 458 h 581"/>
              <a:gd name="T88" fmla="*/ 340 w 574"/>
              <a:gd name="T89" fmla="*/ 387 h 581"/>
              <a:gd name="T90" fmla="*/ 522 w 574"/>
              <a:gd name="T91" fmla="*/ 374 h 581"/>
              <a:gd name="T92" fmla="*/ 560 w 574"/>
              <a:gd name="T93" fmla="*/ 410 h 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4" h="581">
                <a:moveTo>
                  <a:pt x="522" y="17"/>
                </a:moveTo>
                <a:cubicBezTo>
                  <a:pt x="490" y="6"/>
                  <a:pt x="449" y="0"/>
                  <a:pt x="404" y="0"/>
                </a:cubicBezTo>
                <a:cubicBezTo>
                  <a:pt x="360" y="0"/>
                  <a:pt x="318" y="6"/>
                  <a:pt x="287" y="17"/>
                </a:cubicBezTo>
                <a:cubicBezTo>
                  <a:pt x="252" y="29"/>
                  <a:pt x="234" y="44"/>
                  <a:pt x="234" y="63"/>
                </a:cubicBezTo>
                <a:cubicBezTo>
                  <a:pt x="234" y="210"/>
                  <a:pt x="234" y="210"/>
                  <a:pt x="234" y="210"/>
                </a:cubicBezTo>
                <a:cubicBezTo>
                  <a:pt x="214" y="208"/>
                  <a:pt x="192" y="206"/>
                  <a:pt x="170" y="206"/>
                </a:cubicBezTo>
                <a:cubicBezTo>
                  <a:pt x="126" y="206"/>
                  <a:pt x="84" y="212"/>
                  <a:pt x="52" y="223"/>
                </a:cubicBezTo>
                <a:cubicBezTo>
                  <a:pt x="18" y="234"/>
                  <a:pt x="0" y="250"/>
                  <a:pt x="0" y="268"/>
                </a:cubicBezTo>
                <a:cubicBezTo>
                  <a:pt x="0" y="519"/>
                  <a:pt x="0" y="519"/>
                  <a:pt x="0" y="519"/>
                </a:cubicBezTo>
                <a:cubicBezTo>
                  <a:pt x="0" y="537"/>
                  <a:pt x="18" y="553"/>
                  <a:pt x="52" y="565"/>
                </a:cubicBezTo>
                <a:cubicBezTo>
                  <a:pt x="84" y="575"/>
                  <a:pt x="126" y="581"/>
                  <a:pt x="170" y="581"/>
                </a:cubicBezTo>
                <a:cubicBezTo>
                  <a:pt x="214" y="581"/>
                  <a:pt x="256" y="575"/>
                  <a:pt x="288" y="565"/>
                </a:cubicBezTo>
                <a:cubicBezTo>
                  <a:pt x="322" y="553"/>
                  <a:pt x="340" y="537"/>
                  <a:pt x="340" y="519"/>
                </a:cubicBezTo>
                <a:cubicBezTo>
                  <a:pt x="340" y="467"/>
                  <a:pt x="340" y="467"/>
                  <a:pt x="340" y="467"/>
                </a:cubicBezTo>
                <a:cubicBezTo>
                  <a:pt x="360" y="470"/>
                  <a:pt x="382" y="472"/>
                  <a:pt x="404" y="472"/>
                </a:cubicBezTo>
                <a:cubicBezTo>
                  <a:pt x="449" y="472"/>
                  <a:pt x="490" y="466"/>
                  <a:pt x="522" y="455"/>
                </a:cubicBezTo>
                <a:cubicBezTo>
                  <a:pt x="556" y="444"/>
                  <a:pt x="574" y="428"/>
                  <a:pt x="574" y="410"/>
                </a:cubicBezTo>
                <a:cubicBezTo>
                  <a:pt x="574" y="63"/>
                  <a:pt x="574" y="63"/>
                  <a:pt x="574" y="63"/>
                </a:cubicBezTo>
                <a:cubicBezTo>
                  <a:pt x="574" y="44"/>
                  <a:pt x="556" y="29"/>
                  <a:pt x="522" y="17"/>
                </a:cubicBezTo>
                <a:close/>
                <a:moveTo>
                  <a:pt x="560" y="329"/>
                </a:moveTo>
                <a:cubicBezTo>
                  <a:pt x="560" y="352"/>
                  <a:pt x="496" y="377"/>
                  <a:pt x="404" y="377"/>
                </a:cubicBezTo>
                <a:cubicBezTo>
                  <a:pt x="382" y="377"/>
                  <a:pt x="360" y="375"/>
                  <a:pt x="340" y="372"/>
                </a:cubicBezTo>
                <a:cubicBezTo>
                  <a:pt x="340" y="301"/>
                  <a:pt x="340" y="301"/>
                  <a:pt x="340" y="301"/>
                </a:cubicBezTo>
                <a:cubicBezTo>
                  <a:pt x="360" y="304"/>
                  <a:pt x="382" y="305"/>
                  <a:pt x="404" y="305"/>
                </a:cubicBezTo>
                <a:cubicBezTo>
                  <a:pt x="449" y="305"/>
                  <a:pt x="490" y="300"/>
                  <a:pt x="522" y="289"/>
                </a:cubicBezTo>
                <a:cubicBezTo>
                  <a:pt x="539" y="283"/>
                  <a:pt x="552" y="276"/>
                  <a:pt x="560" y="269"/>
                </a:cubicBezTo>
                <a:lnTo>
                  <a:pt x="560" y="329"/>
                </a:lnTo>
                <a:close/>
                <a:moveTo>
                  <a:pt x="326" y="294"/>
                </a:moveTo>
                <a:cubicBezTo>
                  <a:pt x="326" y="358"/>
                  <a:pt x="326" y="358"/>
                  <a:pt x="326" y="358"/>
                </a:cubicBezTo>
                <a:cubicBezTo>
                  <a:pt x="326" y="380"/>
                  <a:pt x="262" y="406"/>
                  <a:pt x="170" y="406"/>
                </a:cubicBezTo>
                <a:cubicBezTo>
                  <a:pt x="78" y="406"/>
                  <a:pt x="14" y="380"/>
                  <a:pt x="14" y="358"/>
                </a:cubicBezTo>
                <a:cubicBezTo>
                  <a:pt x="14" y="294"/>
                  <a:pt x="14" y="294"/>
                  <a:pt x="14" y="294"/>
                </a:cubicBezTo>
                <a:cubicBezTo>
                  <a:pt x="23" y="302"/>
                  <a:pt x="36" y="308"/>
                  <a:pt x="52" y="314"/>
                </a:cubicBezTo>
                <a:cubicBezTo>
                  <a:pt x="84" y="325"/>
                  <a:pt x="126" y="331"/>
                  <a:pt x="170" y="331"/>
                </a:cubicBezTo>
                <a:cubicBezTo>
                  <a:pt x="214" y="331"/>
                  <a:pt x="256" y="325"/>
                  <a:pt x="288" y="314"/>
                </a:cubicBezTo>
                <a:cubicBezTo>
                  <a:pt x="304" y="308"/>
                  <a:pt x="317" y="302"/>
                  <a:pt x="326" y="294"/>
                </a:cubicBezTo>
                <a:close/>
                <a:moveTo>
                  <a:pt x="14" y="383"/>
                </a:moveTo>
                <a:cubicBezTo>
                  <a:pt x="23" y="391"/>
                  <a:pt x="36" y="398"/>
                  <a:pt x="52" y="403"/>
                </a:cubicBezTo>
                <a:cubicBezTo>
                  <a:pt x="84" y="414"/>
                  <a:pt x="126" y="420"/>
                  <a:pt x="170" y="420"/>
                </a:cubicBezTo>
                <a:cubicBezTo>
                  <a:pt x="214" y="420"/>
                  <a:pt x="256" y="414"/>
                  <a:pt x="288" y="403"/>
                </a:cubicBezTo>
                <a:cubicBezTo>
                  <a:pt x="304" y="398"/>
                  <a:pt x="317" y="391"/>
                  <a:pt x="326" y="383"/>
                </a:cubicBezTo>
                <a:cubicBezTo>
                  <a:pt x="326" y="438"/>
                  <a:pt x="326" y="438"/>
                  <a:pt x="326" y="438"/>
                </a:cubicBezTo>
                <a:cubicBezTo>
                  <a:pt x="326" y="461"/>
                  <a:pt x="262" y="486"/>
                  <a:pt x="170" y="486"/>
                </a:cubicBezTo>
                <a:cubicBezTo>
                  <a:pt x="78" y="486"/>
                  <a:pt x="14" y="461"/>
                  <a:pt x="14" y="438"/>
                </a:cubicBezTo>
                <a:lnTo>
                  <a:pt x="14" y="383"/>
                </a:lnTo>
                <a:close/>
                <a:moveTo>
                  <a:pt x="560" y="158"/>
                </a:moveTo>
                <a:cubicBezTo>
                  <a:pt x="560" y="180"/>
                  <a:pt x="496" y="206"/>
                  <a:pt x="404" y="206"/>
                </a:cubicBezTo>
                <a:cubicBezTo>
                  <a:pt x="312" y="206"/>
                  <a:pt x="248" y="180"/>
                  <a:pt x="248" y="158"/>
                </a:cubicBezTo>
                <a:cubicBezTo>
                  <a:pt x="248" y="89"/>
                  <a:pt x="248" y="89"/>
                  <a:pt x="248" y="89"/>
                </a:cubicBezTo>
                <a:cubicBezTo>
                  <a:pt x="257" y="96"/>
                  <a:pt x="270" y="103"/>
                  <a:pt x="287" y="108"/>
                </a:cubicBezTo>
                <a:cubicBezTo>
                  <a:pt x="318" y="119"/>
                  <a:pt x="360" y="125"/>
                  <a:pt x="404" y="125"/>
                </a:cubicBezTo>
                <a:cubicBezTo>
                  <a:pt x="449" y="125"/>
                  <a:pt x="490" y="119"/>
                  <a:pt x="522" y="108"/>
                </a:cubicBezTo>
                <a:cubicBezTo>
                  <a:pt x="539" y="103"/>
                  <a:pt x="552" y="96"/>
                  <a:pt x="560" y="89"/>
                </a:cubicBezTo>
                <a:lnTo>
                  <a:pt x="560" y="158"/>
                </a:lnTo>
                <a:close/>
                <a:moveTo>
                  <a:pt x="404" y="14"/>
                </a:moveTo>
                <a:cubicBezTo>
                  <a:pt x="496" y="14"/>
                  <a:pt x="560" y="40"/>
                  <a:pt x="560" y="63"/>
                </a:cubicBezTo>
                <a:cubicBezTo>
                  <a:pt x="560" y="85"/>
                  <a:pt x="496" y="111"/>
                  <a:pt x="404" y="111"/>
                </a:cubicBezTo>
                <a:cubicBezTo>
                  <a:pt x="312" y="111"/>
                  <a:pt x="248" y="85"/>
                  <a:pt x="248" y="63"/>
                </a:cubicBezTo>
                <a:cubicBezTo>
                  <a:pt x="248" y="40"/>
                  <a:pt x="312" y="14"/>
                  <a:pt x="404" y="14"/>
                </a:cubicBezTo>
                <a:close/>
                <a:moveTo>
                  <a:pt x="248" y="183"/>
                </a:moveTo>
                <a:cubicBezTo>
                  <a:pt x="257" y="191"/>
                  <a:pt x="270" y="198"/>
                  <a:pt x="287" y="203"/>
                </a:cubicBezTo>
                <a:cubicBezTo>
                  <a:pt x="318" y="214"/>
                  <a:pt x="360" y="220"/>
                  <a:pt x="404" y="220"/>
                </a:cubicBezTo>
                <a:cubicBezTo>
                  <a:pt x="449" y="220"/>
                  <a:pt x="490" y="214"/>
                  <a:pt x="522" y="203"/>
                </a:cubicBezTo>
                <a:cubicBezTo>
                  <a:pt x="539" y="198"/>
                  <a:pt x="552" y="191"/>
                  <a:pt x="560" y="183"/>
                </a:cubicBezTo>
                <a:cubicBezTo>
                  <a:pt x="560" y="243"/>
                  <a:pt x="560" y="243"/>
                  <a:pt x="560" y="243"/>
                </a:cubicBezTo>
                <a:cubicBezTo>
                  <a:pt x="560" y="266"/>
                  <a:pt x="496" y="291"/>
                  <a:pt x="404" y="291"/>
                </a:cubicBezTo>
                <a:cubicBezTo>
                  <a:pt x="382" y="291"/>
                  <a:pt x="360" y="290"/>
                  <a:pt x="340" y="287"/>
                </a:cubicBezTo>
                <a:cubicBezTo>
                  <a:pt x="340" y="268"/>
                  <a:pt x="340" y="268"/>
                  <a:pt x="340" y="268"/>
                </a:cubicBezTo>
                <a:cubicBezTo>
                  <a:pt x="340" y="250"/>
                  <a:pt x="322" y="234"/>
                  <a:pt x="288" y="223"/>
                </a:cubicBezTo>
                <a:cubicBezTo>
                  <a:pt x="276" y="219"/>
                  <a:pt x="262" y="215"/>
                  <a:pt x="248" y="213"/>
                </a:cubicBezTo>
                <a:lnTo>
                  <a:pt x="248" y="183"/>
                </a:lnTo>
                <a:close/>
                <a:moveTo>
                  <a:pt x="170" y="220"/>
                </a:moveTo>
                <a:cubicBezTo>
                  <a:pt x="196" y="220"/>
                  <a:pt x="219" y="222"/>
                  <a:pt x="239" y="225"/>
                </a:cubicBezTo>
                <a:cubicBezTo>
                  <a:pt x="240" y="225"/>
                  <a:pt x="240" y="226"/>
                  <a:pt x="240" y="226"/>
                </a:cubicBezTo>
                <a:cubicBezTo>
                  <a:pt x="293" y="234"/>
                  <a:pt x="326" y="252"/>
                  <a:pt x="326" y="268"/>
                </a:cubicBezTo>
                <a:cubicBezTo>
                  <a:pt x="326" y="291"/>
                  <a:pt x="262" y="317"/>
                  <a:pt x="170" y="317"/>
                </a:cubicBezTo>
                <a:cubicBezTo>
                  <a:pt x="78" y="317"/>
                  <a:pt x="14" y="291"/>
                  <a:pt x="14" y="268"/>
                </a:cubicBezTo>
                <a:cubicBezTo>
                  <a:pt x="14" y="246"/>
                  <a:pt x="78" y="220"/>
                  <a:pt x="170" y="220"/>
                </a:cubicBezTo>
                <a:close/>
                <a:moveTo>
                  <a:pt x="170" y="567"/>
                </a:moveTo>
                <a:cubicBezTo>
                  <a:pt x="78" y="567"/>
                  <a:pt x="14" y="542"/>
                  <a:pt x="14" y="519"/>
                </a:cubicBezTo>
                <a:cubicBezTo>
                  <a:pt x="14" y="464"/>
                  <a:pt x="14" y="464"/>
                  <a:pt x="14" y="464"/>
                </a:cubicBezTo>
                <a:cubicBezTo>
                  <a:pt x="23" y="472"/>
                  <a:pt x="36" y="478"/>
                  <a:pt x="52" y="484"/>
                </a:cubicBezTo>
                <a:cubicBezTo>
                  <a:pt x="84" y="495"/>
                  <a:pt x="126" y="500"/>
                  <a:pt x="170" y="500"/>
                </a:cubicBezTo>
                <a:cubicBezTo>
                  <a:pt x="214" y="500"/>
                  <a:pt x="256" y="495"/>
                  <a:pt x="288" y="484"/>
                </a:cubicBezTo>
                <a:cubicBezTo>
                  <a:pt x="304" y="478"/>
                  <a:pt x="317" y="472"/>
                  <a:pt x="326" y="464"/>
                </a:cubicBezTo>
                <a:cubicBezTo>
                  <a:pt x="326" y="519"/>
                  <a:pt x="326" y="519"/>
                  <a:pt x="326" y="519"/>
                </a:cubicBezTo>
                <a:cubicBezTo>
                  <a:pt x="326" y="542"/>
                  <a:pt x="262" y="567"/>
                  <a:pt x="170" y="567"/>
                </a:cubicBezTo>
                <a:close/>
                <a:moveTo>
                  <a:pt x="404" y="458"/>
                </a:moveTo>
                <a:cubicBezTo>
                  <a:pt x="382" y="458"/>
                  <a:pt x="360" y="456"/>
                  <a:pt x="340" y="453"/>
                </a:cubicBezTo>
                <a:cubicBezTo>
                  <a:pt x="340" y="387"/>
                  <a:pt x="340" y="387"/>
                  <a:pt x="340" y="387"/>
                </a:cubicBezTo>
                <a:cubicBezTo>
                  <a:pt x="361" y="389"/>
                  <a:pt x="382" y="391"/>
                  <a:pt x="404" y="391"/>
                </a:cubicBezTo>
                <a:cubicBezTo>
                  <a:pt x="449" y="391"/>
                  <a:pt x="490" y="385"/>
                  <a:pt x="522" y="374"/>
                </a:cubicBezTo>
                <a:cubicBezTo>
                  <a:pt x="539" y="369"/>
                  <a:pt x="552" y="362"/>
                  <a:pt x="560" y="355"/>
                </a:cubicBezTo>
                <a:cubicBezTo>
                  <a:pt x="560" y="410"/>
                  <a:pt x="560" y="410"/>
                  <a:pt x="560" y="410"/>
                </a:cubicBezTo>
                <a:cubicBezTo>
                  <a:pt x="560" y="432"/>
                  <a:pt x="496" y="458"/>
                  <a:pt x="404" y="458"/>
                </a:cubicBez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9" name="Freeform 27">
            <a:extLst>
              <a:ext uri="{FF2B5EF4-FFF2-40B4-BE49-F238E27FC236}">
                <a16:creationId xmlns:a16="http://schemas.microsoft.com/office/drawing/2014/main" id="{AD6BE7F4-63F1-A18E-7AA5-49AF8B5D7EA1}"/>
              </a:ext>
            </a:extLst>
          </p:cNvPr>
          <p:cNvSpPr>
            <a:spLocks noEditPoints="1"/>
          </p:cNvSpPr>
          <p:nvPr/>
        </p:nvSpPr>
        <p:spPr bwMode="auto">
          <a:xfrm>
            <a:off x="801890" y="3288095"/>
            <a:ext cx="327416" cy="273122"/>
          </a:xfrm>
          <a:custGeom>
            <a:avLst/>
            <a:gdLst>
              <a:gd name="T0" fmla="*/ 636 w 642"/>
              <a:gd name="T1" fmla="*/ 151 h 536"/>
              <a:gd name="T2" fmla="*/ 487 w 642"/>
              <a:gd name="T3" fmla="*/ 114 h 536"/>
              <a:gd name="T4" fmla="*/ 490 w 642"/>
              <a:gd name="T5" fmla="*/ 91 h 536"/>
              <a:gd name="T6" fmla="*/ 400 w 642"/>
              <a:gd name="T7" fmla="*/ 0 h 536"/>
              <a:gd name="T8" fmla="*/ 309 w 642"/>
              <a:gd name="T9" fmla="*/ 91 h 536"/>
              <a:gd name="T10" fmla="*/ 315 w 642"/>
              <a:gd name="T11" fmla="*/ 126 h 536"/>
              <a:gd name="T12" fmla="*/ 217 w 642"/>
              <a:gd name="T13" fmla="*/ 151 h 536"/>
              <a:gd name="T14" fmla="*/ 9 w 642"/>
              <a:gd name="T15" fmla="*/ 98 h 536"/>
              <a:gd name="T16" fmla="*/ 3 w 642"/>
              <a:gd name="T17" fmla="*/ 100 h 536"/>
              <a:gd name="T18" fmla="*/ 0 w 642"/>
              <a:gd name="T19" fmla="*/ 105 h 536"/>
              <a:gd name="T20" fmla="*/ 0 w 642"/>
              <a:gd name="T21" fmla="*/ 476 h 536"/>
              <a:gd name="T22" fmla="*/ 6 w 642"/>
              <a:gd name="T23" fmla="*/ 483 h 536"/>
              <a:gd name="T24" fmla="*/ 215 w 642"/>
              <a:gd name="T25" fmla="*/ 536 h 536"/>
              <a:gd name="T26" fmla="*/ 217 w 642"/>
              <a:gd name="T27" fmla="*/ 536 h 536"/>
              <a:gd name="T28" fmla="*/ 217 w 642"/>
              <a:gd name="T29" fmla="*/ 536 h 536"/>
              <a:gd name="T30" fmla="*/ 217 w 642"/>
              <a:gd name="T31" fmla="*/ 536 h 536"/>
              <a:gd name="T32" fmla="*/ 218 w 642"/>
              <a:gd name="T33" fmla="*/ 536 h 536"/>
              <a:gd name="T34" fmla="*/ 426 w 642"/>
              <a:gd name="T35" fmla="*/ 483 h 536"/>
              <a:gd name="T36" fmla="*/ 633 w 642"/>
              <a:gd name="T37" fmla="*/ 536 h 536"/>
              <a:gd name="T38" fmla="*/ 635 w 642"/>
              <a:gd name="T39" fmla="*/ 536 h 536"/>
              <a:gd name="T40" fmla="*/ 639 w 642"/>
              <a:gd name="T41" fmla="*/ 534 h 536"/>
              <a:gd name="T42" fmla="*/ 642 w 642"/>
              <a:gd name="T43" fmla="*/ 529 h 536"/>
              <a:gd name="T44" fmla="*/ 642 w 642"/>
              <a:gd name="T45" fmla="*/ 158 h 536"/>
              <a:gd name="T46" fmla="*/ 636 w 642"/>
              <a:gd name="T47" fmla="*/ 151 h 536"/>
              <a:gd name="T48" fmla="*/ 400 w 642"/>
              <a:gd name="T49" fmla="*/ 14 h 536"/>
              <a:gd name="T50" fmla="*/ 476 w 642"/>
              <a:gd name="T51" fmla="*/ 91 h 536"/>
              <a:gd name="T52" fmla="*/ 472 w 642"/>
              <a:gd name="T53" fmla="*/ 116 h 536"/>
              <a:gd name="T54" fmla="*/ 472 w 642"/>
              <a:gd name="T55" fmla="*/ 117 h 536"/>
              <a:gd name="T56" fmla="*/ 472 w 642"/>
              <a:gd name="T57" fmla="*/ 117 h 536"/>
              <a:gd name="T58" fmla="*/ 400 w 642"/>
              <a:gd name="T59" fmla="*/ 224 h 536"/>
              <a:gd name="T60" fmla="*/ 323 w 642"/>
              <a:gd name="T61" fmla="*/ 91 h 536"/>
              <a:gd name="T62" fmla="*/ 400 w 642"/>
              <a:gd name="T63" fmla="*/ 14 h 536"/>
              <a:gd name="T64" fmla="*/ 14 w 642"/>
              <a:gd name="T65" fmla="*/ 114 h 536"/>
              <a:gd name="T66" fmla="*/ 210 w 642"/>
              <a:gd name="T67" fmla="*/ 164 h 536"/>
              <a:gd name="T68" fmla="*/ 210 w 642"/>
              <a:gd name="T69" fmla="*/ 520 h 536"/>
              <a:gd name="T70" fmla="*/ 14 w 642"/>
              <a:gd name="T71" fmla="*/ 470 h 536"/>
              <a:gd name="T72" fmla="*/ 14 w 642"/>
              <a:gd name="T73" fmla="*/ 114 h 536"/>
              <a:gd name="T74" fmla="*/ 224 w 642"/>
              <a:gd name="T75" fmla="*/ 164 h 536"/>
              <a:gd name="T76" fmla="*/ 320 w 642"/>
              <a:gd name="T77" fmla="*/ 139 h 536"/>
              <a:gd name="T78" fmla="*/ 400 w 642"/>
              <a:gd name="T79" fmla="*/ 238 h 536"/>
              <a:gd name="T80" fmla="*/ 419 w 642"/>
              <a:gd name="T81" fmla="*/ 231 h 536"/>
              <a:gd name="T82" fmla="*/ 419 w 642"/>
              <a:gd name="T83" fmla="*/ 470 h 536"/>
              <a:gd name="T84" fmla="*/ 224 w 642"/>
              <a:gd name="T85" fmla="*/ 520 h 536"/>
              <a:gd name="T86" fmla="*/ 224 w 642"/>
              <a:gd name="T87" fmla="*/ 164 h 536"/>
              <a:gd name="T88" fmla="*/ 628 w 642"/>
              <a:gd name="T89" fmla="*/ 520 h 536"/>
              <a:gd name="T90" fmla="*/ 433 w 642"/>
              <a:gd name="T91" fmla="*/ 470 h 536"/>
              <a:gd name="T92" fmla="*/ 433 w 642"/>
              <a:gd name="T93" fmla="*/ 219 h 536"/>
              <a:gd name="T94" fmla="*/ 483 w 642"/>
              <a:gd name="T95" fmla="*/ 127 h 536"/>
              <a:gd name="T96" fmla="*/ 628 w 642"/>
              <a:gd name="T97" fmla="*/ 164 h 536"/>
              <a:gd name="T98" fmla="*/ 628 w 642"/>
              <a:gd name="T99" fmla="*/ 520 h 536"/>
              <a:gd name="T100" fmla="*/ 447 w 642"/>
              <a:gd name="T101" fmla="*/ 91 h 536"/>
              <a:gd name="T102" fmla="*/ 400 w 642"/>
              <a:gd name="T103" fmla="*/ 43 h 536"/>
              <a:gd name="T104" fmla="*/ 352 w 642"/>
              <a:gd name="T105" fmla="*/ 91 h 536"/>
              <a:gd name="T106" fmla="*/ 400 w 642"/>
              <a:gd name="T107" fmla="*/ 138 h 536"/>
              <a:gd name="T108" fmla="*/ 447 w 642"/>
              <a:gd name="T109" fmla="*/ 91 h 536"/>
              <a:gd name="T110" fmla="*/ 366 w 642"/>
              <a:gd name="T111" fmla="*/ 91 h 536"/>
              <a:gd name="T112" fmla="*/ 400 w 642"/>
              <a:gd name="T113" fmla="*/ 57 h 536"/>
              <a:gd name="T114" fmla="*/ 433 w 642"/>
              <a:gd name="T115" fmla="*/ 91 h 536"/>
              <a:gd name="T116" fmla="*/ 400 w 642"/>
              <a:gd name="T117" fmla="*/ 124 h 536"/>
              <a:gd name="T118" fmla="*/ 366 w 642"/>
              <a:gd name="T119" fmla="*/ 91 h 5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42" h="536">
                <a:moveTo>
                  <a:pt x="636" y="151"/>
                </a:moveTo>
                <a:cubicBezTo>
                  <a:pt x="487" y="114"/>
                  <a:pt x="487" y="114"/>
                  <a:pt x="487" y="114"/>
                </a:cubicBezTo>
                <a:cubicBezTo>
                  <a:pt x="489" y="105"/>
                  <a:pt x="490" y="97"/>
                  <a:pt x="490" y="91"/>
                </a:cubicBezTo>
                <a:cubicBezTo>
                  <a:pt x="490" y="41"/>
                  <a:pt x="449" y="0"/>
                  <a:pt x="400" y="0"/>
                </a:cubicBezTo>
                <a:cubicBezTo>
                  <a:pt x="350" y="0"/>
                  <a:pt x="309" y="41"/>
                  <a:pt x="309" y="91"/>
                </a:cubicBezTo>
                <a:cubicBezTo>
                  <a:pt x="309" y="101"/>
                  <a:pt x="311" y="113"/>
                  <a:pt x="315" y="126"/>
                </a:cubicBezTo>
                <a:cubicBezTo>
                  <a:pt x="217" y="151"/>
                  <a:pt x="217" y="151"/>
                  <a:pt x="217" y="151"/>
                </a:cubicBezTo>
                <a:cubicBezTo>
                  <a:pt x="9" y="98"/>
                  <a:pt x="9" y="98"/>
                  <a:pt x="9" y="98"/>
                </a:cubicBezTo>
                <a:cubicBezTo>
                  <a:pt x="7" y="98"/>
                  <a:pt x="5" y="98"/>
                  <a:pt x="3" y="100"/>
                </a:cubicBezTo>
                <a:cubicBezTo>
                  <a:pt x="1" y="101"/>
                  <a:pt x="0" y="103"/>
                  <a:pt x="0" y="105"/>
                </a:cubicBezTo>
                <a:cubicBezTo>
                  <a:pt x="0" y="476"/>
                  <a:pt x="0" y="476"/>
                  <a:pt x="0" y="476"/>
                </a:cubicBezTo>
                <a:cubicBezTo>
                  <a:pt x="0" y="479"/>
                  <a:pt x="3" y="482"/>
                  <a:pt x="6" y="483"/>
                </a:cubicBezTo>
                <a:cubicBezTo>
                  <a:pt x="215" y="536"/>
                  <a:pt x="215" y="536"/>
                  <a:pt x="215" y="536"/>
                </a:cubicBezTo>
                <a:cubicBezTo>
                  <a:pt x="215" y="536"/>
                  <a:pt x="216" y="536"/>
                  <a:pt x="217" y="536"/>
                </a:cubicBezTo>
                <a:cubicBezTo>
                  <a:pt x="217" y="536"/>
                  <a:pt x="217" y="536"/>
                  <a:pt x="217" y="536"/>
                </a:cubicBezTo>
                <a:cubicBezTo>
                  <a:pt x="217" y="536"/>
                  <a:pt x="217" y="536"/>
                  <a:pt x="217" y="536"/>
                </a:cubicBezTo>
                <a:cubicBezTo>
                  <a:pt x="217" y="536"/>
                  <a:pt x="218" y="536"/>
                  <a:pt x="218" y="536"/>
                </a:cubicBezTo>
                <a:cubicBezTo>
                  <a:pt x="426" y="483"/>
                  <a:pt x="426" y="483"/>
                  <a:pt x="426" y="483"/>
                </a:cubicBezTo>
                <a:cubicBezTo>
                  <a:pt x="633" y="536"/>
                  <a:pt x="633" y="536"/>
                  <a:pt x="633" y="536"/>
                </a:cubicBezTo>
                <a:cubicBezTo>
                  <a:pt x="634" y="536"/>
                  <a:pt x="634" y="536"/>
                  <a:pt x="635" y="536"/>
                </a:cubicBezTo>
                <a:cubicBezTo>
                  <a:pt x="636" y="536"/>
                  <a:pt x="638" y="535"/>
                  <a:pt x="639" y="534"/>
                </a:cubicBezTo>
                <a:cubicBezTo>
                  <a:pt x="641" y="533"/>
                  <a:pt x="642" y="531"/>
                  <a:pt x="642" y="529"/>
                </a:cubicBezTo>
                <a:cubicBezTo>
                  <a:pt x="642" y="158"/>
                  <a:pt x="642" y="158"/>
                  <a:pt x="642" y="158"/>
                </a:cubicBezTo>
                <a:cubicBezTo>
                  <a:pt x="642" y="155"/>
                  <a:pt x="640" y="152"/>
                  <a:pt x="636" y="151"/>
                </a:cubicBezTo>
                <a:close/>
                <a:moveTo>
                  <a:pt x="400" y="14"/>
                </a:moveTo>
                <a:cubicBezTo>
                  <a:pt x="442" y="14"/>
                  <a:pt x="476" y="49"/>
                  <a:pt x="476" y="91"/>
                </a:cubicBezTo>
                <a:cubicBezTo>
                  <a:pt x="476" y="98"/>
                  <a:pt x="475" y="107"/>
                  <a:pt x="472" y="116"/>
                </a:cubicBezTo>
                <a:cubicBezTo>
                  <a:pt x="472" y="117"/>
                  <a:pt x="472" y="117"/>
                  <a:pt x="472" y="117"/>
                </a:cubicBezTo>
                <a:cubicBezTo>
                  <a:pt x="472" y="117"/>
                  <a:pt x="472" y="117"/>
                  <a:pt x="472" y="117"/>
                </a:cubicBezTo>
                <a:cubicBezTo>
                  <a:pt x="459" y="163"/>
                  <a:pt x="421" y="224"/>
                  <a:pt x="400" y="224"/>
                </a:cubicBezTo>
                <a:cubicBezTo>
                  <a:pt x="374" y="224"/>
                  <a:pt x="323" y="136"/>
                  <a:pt x="323" y="91"/>
                </a:cubicBezTo>
                <a:cubicBezTo>
                  <a:pt x="323" y="49"/>
                  <a:pt x="357" y="14"/>
                  <a:pt x="400" y="14"/>
                </a:cubicBezTo>
                <a:close/>
                <a:moveTo>
                  <a:pt x="14" y="114"/>
                </a:moveTo>
                <a:cubicBezTo>
                  <a:pt x="210" y="164"/>
                  <a:pt x="210" y="164"/>
                  <a:pt x="210" y="164"/>
                </a:cubicBezTo>
                <a:cubicBezTo>
                  <a:pt x="210" y="520"/>
                  <a:pt x="210" y="520"/>
                  <a:pt x="210" y="520"/>
                </a:cubicBezTo>
                <a:cubicBezTo>
                  <a:pt x="14" y="470"/>
                  <a:pt x="14" y="470"/>
                  <a:pt x="14" y="470"/>
                </a:cubicBezTo>
                <a:lnTo>
                  <a:pt x="14" y="114"/>
                </a:lnTo>
                <a:close/>
                <a:moveTo>
                  <a:pt x="224" y="164"/>
                </a:moveTo>
                <a:cubicBezTo>
                  <a:pt x="320" y="139"/>
                  <a:pt x="320" y="139"/>
                  <a:pt x="320" y="139"/>
                </a:cubicBezTo>
                <a:cubicBezTo>
                  <a:pt x="337" y="186"/>
                  <a:pt x="372" y="238"/>
                  <a:pt x="400" y="238"/>
                </a:cubicBezTo>
                <a:cubicBezTo>
                  <a:pt x="406" y="238"/>
                  <a:pt x="412" y="235"/>
                  <a:pt x="419" y="231"/>
                </a:cubicBezTo>
                <a:cubicBezTo>
                  <a:pt x="419" y="470"/>
                  <a:pt x="419" y="470"/>
                  <a:pt x="419" y="470"/>
                </a:cubicBezTo>
                <a:cubicBezTo>
                  <a:pt x="224" y="520"/>
                  <a:pt x="224" y="520"/>
                  <a:pt x="224" y="520"/>
                </a:cubicBezTo>
                <a:lnTo>
                  <a:pt x="224" y="164"/>
                </a:lnTo>
                <a:close/>
                <a:moveTo>
                  <a:pt x="628" y="520"/>
                </a:moveTo>
                <a:cubicBezTo>
                  <a:pt x="433" y="470"/>
                  <a:pt x="433" y="470"/>
                  <a:pt x="433" y="470"/>
                </a:cubicBezTo>
                <a:cubicBezTo>
                  <a:pt x="433" y="219"/>
                  <a:pt x="433" y="219"/>
                  <a:pt x="433" y="219"/>
                </a:cubicBezTo>
                <a:cubicBezTo>
                  <a:pt x="454" y="197"/>
                  <a:pt x="474" y="159"/>
                  <a:pt x="483" y="127"/>
                </a:cubicBezTo>
                <a:cubicBezTo>
                  <a:pt x="628" y="164"/>
                  <a:pt x="628" y="164"/>
                  <a:pt x="628" y="164"/>
                </a:cubicBezTo>
                <a:lnTo>
                  <a:pt x="628" y="520"/>
                </a:lnTo>
                <a:close/>
                <a:moveTo>
                  <a:pt x="447" y="91"/>
                </a:moveTo>
                <a:cubicBezTo>
                  <a:pt x="447" y="65"/>
                  <a:pt x="426" y="43"/>
                  <a:pt x="400" y="43"/>
                </a:cubicBezTo>
                <a:cubicBezTo>
                  <a:pt x="373" y="43"/>
                  <a:pt x="352" y="65"/>
                  <a:pt x="352" y="91"/>
                </a:cubicBezTo>
                <a:cubicBezTo>
                  <a:pt x="352" y="117"/>
                  <a:pt x="373" y="138"/>
                  <a:pt x="400" y="138"/>
                </a:cubicBezTo>
                <a:cubicBezTo>
                  <a:pt x="426" y="138"/>
                  <a:pt x="447" y="117"/>
                  <a:pt x="447" y="91"/>
                </a:cubicBezTo>
                <a:close/>
                <a:moveTo>
                  <a:pt x="366" y="91"/>
                </a:moveTo>
                <a:cubicBezTo>
                  <a:pt x="366" y="72"/>
                  <a:pt x="381" y="57"/>
                  <a:pt x="400" y="57"/>
                </a:cubicBezTo>
                <a:cubicBezTo>
                  <a:pt x="418" y="57"/>
                  <a:pt x="433" y="72"/>
                  <a:pt x="433" y="91"/>
                </a:cubicBezTo>
                <a:cubicBezTo>
                  <a:pt x="433" y="109"/>
                  <a:pt x="418" y="124"/>
                  <a:pt x="400" y="124"/>
                </a:cubicBezTo>
                <a:cubicBezTo>
                  <a:pt x="381" y="124"/>
                  <a:pt x="366" y="109"/>
                  <a:pt x="366" y="91"/>
                </a:cubicBez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0" name="Freeform 31">
            <a:extLst>
              <a:ext uri="{FF2B5EF4-FFF2-40B4-BE49-F238E27FC236}">
                <a16:creationId xmlns:a16="http://schemas.microsoft.com/office/drawing/2014/main" id="{CA74DFB4-0A39-F3AD-FCA5-AF4E11383CD3}"/>
              </a:ext>
            </a:extLst>
          </p:cNvPr>
          <p:cNvSpPr>
            <a:spLocks noEditPoints="1"/>
          </p:cNvSpPr>
          <p:nvPr/>
        </p:nvSpPr>
        <p:spPr bwMode="auto">
          <a:xfrm>
            <a:off x="3531545" y="3269557"/>
            <a:ext cx="340368" cy="345978"/>
          </a:xfrm>
          <a:custGeom>
            <a:avLst/>
            <a:gdLst>
              <a:gd name="T0" fmla="*/ 278 w 380"/>
              <a:gd name="T1" fmla="*/ 287 h 386"/>
              <a:gd name="T2" fmla="*/ 244 w 380"/>
              <a:gd name="T3" fmla="*/ 213 h 386"/>
              <a:gd name="T4" fmla="*/ 280 w 380"/>
              <a:gd name="T5" fmla="*/ 119 h 386"/>
              <a:gd name="T6" fmla="*/ 190 w 380"/>
              <a:gd name="T7" fmla="*/ 0 h 386"/>
              <a:gd name="T8" fmla="*/ 100 w 380"/>
              <a:gd name="T9" fmla="*/ 119 h 386"/>
              <a:gd name="T10" fmla="*/ 138 w 380"/>
              <a:gd name="T11" fmla="*/ 215 h 386"/>
              <a:gd name="T12" fmla="*/ 106 w 380"/>
              <a:gd name="T13" fmla="*/ 287 h 386"/>
              <a:gd name="T14" fmla="*/ 0 w 380"/>
              <a:gd name="T15" fmla="*/ 381 h 386"/>
              <a:gd name="T16" fmla="*/ 5 w 380"/>
              <a:gd name="T17" fmla="*/ 386 h 386"/>
              <a:gd name="T18" fmla="*/ 376 w 380"/>
              <a:gd name="T19" fmla="*/ 386 h 386"/>
              <a:gd name="T20" fmla="*/ 380 w 380"/>
              <a:gd name="T21" fmla="*/ 381 h 386"/>
              <a:gd name="T22" fmla="*/ 278 w 380"/>
              <a:gd name="T23" fmla="*/ 287 h 386"/>
              <a:gd name="T24" fmla="*/ 110 w 380"/>
              <a:gd name="T25" fmla="*/ 119 h 386"/>
              <a:gd name="T26" fmla="*/ 190 w 380"/>
              <a:gd name="T27" fmla="*/ 10 h 386"/>
              <a:gd name="T28" fmla="*/ 271 w 380"/>
              <a:gd name="T29" fmla="*/ 119 h 386"/>
              <a:gd name="T30" fmla="*/ 236 w 380"/>
              <a:gd name="T31" fmla="*/ 207 h 386"/>
              <a:gd name="T32" fmla="*/ 235 w 380"/>
              <a:gd name="T33" fmla="*/ 209 h 386"/>
              <a:gd name="T34" fmla="*/ 190 w 380"/>
              <a:gd name="T35" fmla="*/ 228 h 386"/>
              <a:gd name="T36" fmla="*/ 147 w 380"/>
              <a:gd name="T37" fmla="*/ 210 h 386"/>
              <a:gd name="T38" fmla="*/ 145 w 380"/>
              <a:gd name="T39" fmla="*/ 208 h 386"/>
              <a:gd name="T40" fmla="*/ 110 w 380"/>
              <a:gd name="T41" fmla="*/ 119 h 386"/>
              <a:gd name="T42" fmla="*/ 10 w 380"/>
              <a:gd name="T43" fmla="*/ 376 h 386"/>
              <a:gd name="T44" fmla="*/ 108 w 380"/>
              <a:gd name="T45" fmla="*/ 296 h 386"/>
              <a:gd name="T46" fmla="*/ 108 w 380"/>
              <a:gd name="T47" fmla="*/ 296 h 386"/>
              <a:gd name="T48" fmla="*/ 147 w 380"/>
              <a:gd name="T49" fmla="*/ 222 h 386"/>
              <a:gd name="T50" fmla="*/ 190 w 380"/>
              <a:gd name="T51" fmla="*/ 238 h 386"/>
              <a:gd name="T52" fmla="*/ 234 w 380"/>
              <a:gd name="T53" fmla="*/ 221 h 386"/>
              <a:gd name="T54" fmla="*/ 275 w 380"/>
              <a:gd name="T55" fmla="*/ 296 h 386"/>
              <a:gd name="T56" fmla="*/ 276 w 380"/>
              <a:gd name="T57" fmla="*/ 297 h 386"/>
              <a:gd name="T58" fmla="*/ 371 w 380"/>
              <a:gd name="T59" fmla="*/ 376 h 386"/>
              <a:gd name="T60" fmla="*/ 10 w 380"/>
              <a:gd name="T61" fmla="*/ 376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80" h="386">
                <a:moveTo>
                  <a:pt x="278" y="287"/>
                </a:moveTo>
                <a:cubicBezTo>
                  <a:pt x="262" y="283"/>
                  <a:pt x="244" y="261"/>
                  <a:pt x="244" y="213"/>
                </a:cubicBezTo>
                <a:cubicBezTo>
                  <a:pt x="265" y="191"/>
                  <a:pt x="280" y="157"/>
                  <a:pt x="280" y="119"/>
                </a:cubicBezTo>
                <a:cubicBezTo>
                  <a:pt x="280" y="46"/>
                  <a:pt x="246" y="0"/>
                  <a:pt x="190" y="0"/>
                </a:cubicBezTo>
                <a:cubicBezTo>
                  <a:pt x="135" y="0"/>
                  <a:pt x="100" y="46"/>
                  <a:pt x="100" y="119"/>
                </a:cubicBezTo>
                <a:cubicBezTo>
                  <a:pt x="100" y="157"/>
                  <a:pt x="116" y="193"/>
                  <a:pt x="138" y="215"/>
                </a:cubicBezTo>
                <a:cubicBezTo>
                  <a:pt x="138" y="244"/>
                  <a:pt x="129" y="279"/>
                  <a:pt x="106" y="287"/>
                </a:cubicBezTo>
                <a:cubicBezTo>
                  <a:pt x="37" y="301"/>
                  <a:pt x="0" y="333"/>
                  <a:pt x="0" y="381"/>
                </a:cubicBezTo>
                <a:cubicBezTo>
                  <a:pt x="0" y="384"/>
                  <a:pt x="2" y="386"/>
                  <a:pt x="5" y="386"/>
                </a:cubicBezTo>
                <a:cubicBezTo>
                  <a:pt x="376" y="386"/>
                  <a:pt x="376" y="386"/>
                  <a:pt x="376" y="386"/>
                </a:cubicBezTo>
                <a:cubicBezTo>
                  <a:pt x="378" y="386"/>
                  <a:pt x="380" y="384"/>
                  <a:pt x="380" y="381"/>
                </a:cubicBezTo>
                <a:cubicBezTo>
                  <a:pt x="380" y="334"/>
                  <a:pt x="345" y="302"/>
                  <a:pt x="278" y="287"/>
                </a:cubicBezTo>
                <a:close/>
                <a:moveTo>
                  <a:pt x="110" y="119"/>
                </a:moveTo>
                <a:cubicBezTo>
                  <a:pt x="110" y="66"/>
                  <a:pt x="131" y="10"/>
                  <a:pt x="190" y="10"/>
                </a:cubicBezTo>
                <a:cubicBezTo>
                  <a:pt x="250" y="10"/>
                  <a:pt x="271" y="66"/>
                  <a:pt x="271" y="119"/>
                </a:cubicBezTo>
                <a:cubicBezTo>
                  <a:pt x="271" y="151"/>
                  <a:pt x="257" y="186"/>
                  <a:pt x="236" y="207"/>
                </a:cubicBezTo>
                <a:cubicBezTo>
                  <a:pt x="236" y="207"/>
                  <a:pt x="235" y="208"/>
                  <a:pt x="235" y="209"/>
                </a:cubicBezTo>
                <a:cubicBezTo>
                  <a:pt x="222" y="221"/>
                  <a:pt x="207" y="228"/>
                  <a:pt x="190" y="228"/>
                </a:cubicBezTo>
                <a:cubicBezTo>
                  <a:pt x="174" y="228"/>
                  <a:pt x="159" y="221"/>
                  <a:pt x="147" y="210"/>
                </a:cubicBezTo>
                <a:cubicBezTo>
                  <a:pt x="147" y="209"/>
                  <a:pt x="146" y="209"/>
                  <a:pt x="145" y="208"/>
                </a:cubicBezTo>
                <a:cubicBezTo>
                  <a:pt x="124" y="187"/>
                  <a:pt x="110" y="152"/>
                  <a:pt x="110" y="119"/>
                </a:cubicBezTo>
                <a:close/>
                <a:moveTo>
                  <a:pt x="10" y="376"/>
                </a:moveTo>
                <a:cubicBezTo>
                  <a:pt x="12" y="335"/>
                  <a:pt x="45" y="308"/>
                  <a:pt x="108" y="296"/>
                </a:cubicBezTo>
                <a:cubicBezTo>
                  <a:pt x="108" y="296"/>
                  <a:pt x="108" y="296"/>
                  <a:pt x="108" y="296"/>
                </a:cubicBezTo>
                <a:cubicBezTo>
                  <a:pt x="135" y="287"/>
                  <a:pt x="146" y="254"/>
                  <a:pt x="147" y="222"/>
                </a:cubicBezTo>
                <a:cubicBezTo>
                  <a:pt x="160" y="232"/>
                  <a:pt x="175" y="238"/>
                  <a:pt x="190" y="238"/>
                </a:cubicBezTo>
                <a:cubicBezTo>
                  <a:pt x="206" y="238"/>
                  <a:pt x="221" y="232"/>
                  <a:pt x="234" y="221"/>
                </a:cubicBezTo>
                <a:cubicBezTo>
                  <a:pt x="236" y="253"/>
                  <a:pt x="248" y="289"/>
                  <a:pt x="275" y="296"/>
                </a:cubicBezTo>
                <a:cubicBezTo>
                  <a:pt x="276" y="297"/>
                  <a:pt x="276" y="297"/>
                  <a:pt x="276" y="297"/>
                </a:cubicBezTo>
                <a:cubicBezTo>
                  <a:pt x="337" y="309"/>
                  <a:pt x="369" y="336"/>
                  <a:pt x="371" y="376"/>
                </a:cubicBezTo>
                <a:lnTo>
                  <a:pt x="10" y="376"/>
                </a:ln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1" name="Freeform 80">
            <a:extLst>
              <a:ext uri="{FF2B5EF4-FFF2-40B4-BE49-F238E27FC236}">
                <a16:creationId xmlns:a16="http://schemas.microsoft.com/office/drawing/2014/main" id="{7F2F565D-7F66-ABEA-A4EC-3ED5DAB0302F}"/>
              </a:ext>
            </a:extLst>
          </p:cNvPr>
          <p:cNvSpPr>
            <a:spLocks noEditPoints="1"/>
          </p:cNvSpPr>
          <p:nvPr/>
        </p:nvSpPr>
        <p:spPr bwMode="auto">
          <a:xfrm>
            <a:off x="783433" y="5415309"/>
            <a:ext cx="364330" cy="338230"/>
          </a:xfrm>
          <a:custGeom>
            <a:avLst/>
            <a:gdLst>
              <a:gd name="T0" fmla="*/ 314 w 628"/>
              <a:gd name="T1" fmla="*/ 583 h 583"/>
              <a:gd name="T2" fmla="*/ 0 w 628"/>
              <a:gd name="T3" fmla="*/ 194 h 583"/>
              <a:gd name="T4" fmla="*/ 160 w 628"/>
              <a:gd name="T5" fmla="*/ 0 h 583"/>
              <a:gd name="T6" fmla="*/ 314 w 628"/>
              <a:gd name="T7" fmla="*/ 84 h 583"/>
              <a:gd name="T8" fmla="*/ 467 w 628"/>
              <a:gd name="T9" fmla="*/ 0 h 583"/>
              <a:gd name="T10" fmla="*/ 628 w 628"/>
              <a:gd name="T11" fmla="*/ 194 h 583"/>
              <a:gd name="T12" fmla="*/ 314 w 628"/>
              <a:gd name="T13" fmla="*/ 583 h 583"/>
              <a:gd name="T14" fmla="*/ 160 w 628"/>
              <a:gd name="T15" fmla="*/ 14 h 583"/>
              <a:gd name="T16" fmla="*/ 14 w 628"/>
              <a:gd name="T17" fmla="*/ 194 h 583"/>
              <a:gd name="T18" fmla="*/ 140 w 628"/>
              <a:gd name="T19" fmla="*/ 458 h 583"/>
              <a:gd name="T20" fmla="*/ 314 w 628"/>
              <a:gd name="T21" fmla="*/ 569 h 583"/>
              <a:gd name="T22" fmla="*/ 488 w 628"/>
              <a:gd name="T23" fmla="*/ 458 h 583"/>
              <a:gd name="T24" fmla="*/ 614 w 628"/>
              <a:gd name="T25" fmla="*/ 194 h 583"/>
              <a:gd name="T26" fmla="*/ 467 w 628"/>
              <a:gd name="T27" fmla="*/ 14 h 583"/>
              <a:gd name="T28" fmla="*/ 321 w 628"/>
              <a:gd name="T29" fmla="*/ 116 h 583"/>
              <a:gd name="T30" fmla="*/ 314 w 628"/>
              <a:gd name="T31" fmla="*/ 123 h 583"/>
              <a:gd name="T32" fmla="*/ 307 w 628"/>
              <a:gd name="T33" fmla="*/ 116 h 583"/>
              <a:gd name="T34" fmla="*/ 160 w 628"/>
              <a:gd name="T35" fmla="*/ 14 h 5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8" h="583">
                <a:moveTo>
                  <a:pt x="314" y="583"/>
                </a:moveTo>
                <a:cubicBezTo>
                  <a:pt x="239" y="583"/>
                  <a:pt x="0" y="403"/>
                  <a:pt x="0" y="194"/>
                </a:cubicBezTo>
                <a:cubicBezTo>
                  <a:pt x="0" y="102"/>
                  <a:pt x="68" y="0"/>
                  <a:pt x="160" y="0"/>
                </a:cubicBezTo>
                <a:cubicBezTo>
                  <a:pt x="230" y="0"/>
                  <a:pt x="294" y="37"/>
                  <a:pt x="314" y="84"/>
                </a:cubicBezTo>
                <a:cubicBezTo>
                  <a:pt x="335" y="37"/>
                  <a:pt x="398" y="0"/>
                  <a:pt x="467" y="0"/>
                </a:cubicBezTo>
                <a:cubicBezTo>
                  <a:pt x="559" y="0"/>
                  <a:pt x="628" y="102"/>
                  <a:pt x="628" y="194"/>
                </a:cubicBezTo>
                <a:cubicBezTo>
                  <a:pt x="628" y="403"/>
                  <a:pt x="388" y="583"/>
                  <a:pt x="314" y="583"/>
                </a:cubicBezTo>
                <a:close/>
                <a:moveTo>
                  <a:pt x="160" y="14"/>
                </a:moveTo>
                <a:cubicBezTo>
                  <a:pt x="91" y="14"/>
                  <a:pt x="14" y="91"/>
                  <a:pt x="14" y="194"/>
                </a:cubicBezTo>
                <a:cubicBezTo>
                  <a:pt x="14" y="312"/>
                  <a:pt x="93" y="410"/>
                  <a:pt x="140" y="458"/>
                </a:cubicBezTo>
                <a:cubicBezTo>
                  <a:pt x="207" y="526"/>
                  <a:pt x="282" y="569"/>
                  <a:pt x="314" y="569"/>
                </a:cubicBezTo>
                <a:cubicBezTo>
                  <a:pt x="345" y="569"/>
                  <a:pt x="421" y="526"/>
                  <a:pt x="488" y="458"/>
                </a:cubicBezTo>
                <a:cubicBezTo>
                  <a:pt x="535" y="410"/>
                  <a:pt x="614" y="312"/>
                  <a:pt x="614" y="194"/>
                </a:cubicBezTo>
                <a:cubicBezTo>
                  <a:pt x="614" y="91"/>
                  <a:pt x="536" y="14"/>
                  <a:pt x="467" y="14"/>
                </a:cubicBezTo>
                <a:cubicBezTo>
                  <a:pt x="383" y="14"/>
                  <a:pt x="321" y="68"/>
                  <a:pt x="321" y="116"/>
                </a:cubicBezTo>
                <a:cubicBezTo>
                  <a:pt x="321" y="120"/>
                  <a:pt x="318" y="123"/>
                  <a:pt x="314" y="123"/>
                </a:cubicBezTo>
                <a:cubicBezTo>
                  <a:pt x="310" y="123"/>
                  <a:pt x="307" y="120"/>
                  <a:pt x="307" y="116"/>
                </a:cubicBezTo>
                <a:cubicBezTo>
                  <a:pt x="307" y="58"/>
                  <a:pt x="229" y="14"/>
                  <a:pt x="160" y="14"/>
                </a:cubicBez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947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reveal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A6C12C4-0FB7-6906-399E-B8525053A2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6C12C4-0FB7-6906-399E-B8525053A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>
            <a:extLst>
              <a:ext uri="{FF2B5EF4-FFF2-40B4-BE49-F238E27FC236}">
                <a16:creationId xmlns:a16="http://schemas.microsoft.com/office/drawing/2014/main" id="{8E57499F-6D9F-2929-0F12-DB1B8AD0D5F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3999" t="18483" r="39348" b="919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827D28F5-E0B6-FDC4-E22D-3694FB459C1C}"/>
              </a:ext>
            </a:extLst>
          </p:cNvPr>
          <p:cNvSpPr>
            <a:spLocks/>
          </p:cNvSpPr>
          <p:nvPr/>
        </p:nvSpPr>
        <p:spPr>
          <a:xfrm>
            <a:off x="0" y="5232400"/>
            <a:ext cx="12192000" cy="1625600"/>
          </a:xfrm>
          <a:prstGeom prst="rect">
            <a:avLst/>
          </a:prstGeom>
          <a:gradFill flip="none" rotWithShape="1">
            <a:gsLst>
              <a:gs pos="0">
                <a:schemeClr val="accent6">
                  <a:alpha val="80000"/>
                </a:schemeClr>
              </a:gs>
              <a:gs pos="100000">
                <a:schemeClr val="accent6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C6F39BE6-7175-38B3-57A1-FD96117338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0739527" y="6540789"/>
            <a:ext cx="1084175" cy="131859"/>
          </a:xfrm>
          <a:prstGeom prst="rect">
            <a:avLst/>
          </a:prstGeom>
        </p:spPr>
      </p:pic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F0F6082-19BB-F729-0C6C-1E50681B977A}"/>
              </a:ext>
            </a:extLst>
          </p:cNvPr>
          <p:cNvSpPr txBox="1">
            <a:spLocks/>
          </p:cNvSpPr>
          <p:nvPr/>
        </p:nvSpPr>
        <p:spPr>
          <a:xfrm>
            <a:off x="908873" y="3061436"/>
            <a:ext cx="5444303" cy="317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i="0" kern="0" spc="0" baseline="0">
                <a:solidFill>
                  <a:schemeClr val="tx1"/>
                </a:solidFill>
                <a:latin typeface="Avenir Next LT Pro Demi" panose="020B0504020202020204" pitchFamily="34" charset="77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SzPct val="120000"/>
              <a:buFont typeface="Arial" panose="020B0604020202020204" pitchFamily="34" charset="0"/>
              <a:buNone/>
              <a:defRPr sz="1600" b="1" i="0" kern="1200" baseline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5pPr>
            <a:lvl6pPr marL="2285943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sz="2000" b="0">
                <a:solidFill>
                  <a:schemeClr val="bg2"/>
                </a:solidFill>
                <a:latin typeface="Avenir Next LT Pro" panose="020B0504020202020204" pitchFamily="34" charset="77"/>
              </a:rPr>
              <a:t>… durch </a:t>
            </a:r>
            <a:r>
              <a:rPr lang="de-DE" sz="2000">
                <a:solidFill>
                  <a:schemeClr val="bg2"/>
                </a:solidFill>
                <a:latin typeface="Avenir Next LT Pro" panose="020B0504020202020204" pitchFamily="34" charset="77"/>
              </a:rPr>
              <a:t>Technologie</a:t>
            </a:r>
            <a:r>
              <a:rPr lang="de-DE" sz="2000" b="0">
                <a:solidFill>
                  <a:schemeClr val="bg2"/>
                </a:solidFill>
                <a:latin typeface="Avenir Next LT Pro" panose="020B0504020202020204" pitchFamily="34" charset="77"/>
              </a:rPr>
              <a:t> Zukunftswert stiften. 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7BF3B443-FEE8-A0AA-6380-1DCDE7BD625D}"/>
              </a:ext>
            </a:extLst>
          </p:cNvPr>
          <p:cNvSpPr txBox="1">
            <a:spLocks/>
          </p:cNvSpPr>
          <p:nvPr/>
        </p:nvSpPr>
        <p:spPr>
          <a:xfrm>
            <a:off x="908873" y="3563092"/>
            <a:ext cx="5444303" cy="317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i="0" kern="0" spc="0" baseline="0">
                <a:solidFill>
                  <a:schemeClr val="tx1"/>
                </a:solidFill>
                <a:latin typeface="Avenir Next LT Pro Demi" panose="020B0504020202020204" pitchFamily="34" charset="77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SzPct val="120000"/>
              <a:buFont typeface="Arial" panose="020B0604020202020204" pitchFamily="34" charset="0"/>
              <a:buNone/>
              <a:defRPr sz="1600" b="1" i="0" kern="1200" baseline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5pPr>
            <a:lvl6pPr marL="2285943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sz="2000" b="0">
                <a:solidFill>
                  <a:schemeClr val="bg2"/>
                </a:solidFill>
                <a:latin typeface="Avenir Next LT Pro" panose="020B0504020202020204" pitchFamily="34" charset="77"/>
              </a:rPr>
              <a:t>… in Veränderungen </a:t>
            </a:r>
            <a:r>
              <a:rPr lang="de-DE" sz="2000">
                <a:solidFill>
                  <a:schemeClr val="bg2"/>
                </a:solidFill>
                <a:latin typeface="Avenir Next LT Pro" panose="020B0504020202020204" pitchFamily="34" charset="77"/>
              </a:rPr>
              <a:t>neue Chancen </a:t>
            </a:r>
            <a:r>
              <a:rPr lang="de-DE" sz="2000" b="0">
                <a:solidFill>
                  <a:schemeClr val="bg2"/>
                </a:solidFill>
                <a:latin typeface="Avenir Next LT Pro" panose="020B0504020202020204" pitchFamily="34" charset="77"/>
              </a:rPr>
              <a:t>sehen. 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C58E9368-9369-209A-2DD3-B3AAA794060B}"/>
              </a:ext>
            </a:extLst>
          </p:cNvPr>
          <p:cNvSpPr txBox="1">
            <a:spLocks/>
          </p:cNvSpPr>
          <p:nvPr/>
        </p:nvSpPr>
        <p:spPr>
          <a:xfrm>
            <a:off x="908873" y="4064748"/>
            <a:ext cx="5444303" cy="317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i="0" kern="0" spc="0" baseline="0">
                <a:solidFill>
                  <a:schemeClr val="tx1"/>
                </a:solidFill>
                <a:latin typeface="Avenir Next LT Pro Demi" panose="020B0504020202020204" pitchFamily="34" charset="77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SzPct val="120000"/>
              <a:buFont typeface="Arial" panose="020B0604020202020204" pitchFamily="34" charset="0"/>
              <a:buNone/>
              <a:defRPr sz="1600" b="1" i="0" kern="1200" baseline="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5pPr>
            <a:lvl6pPr marL="2285943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sz="2000" b="0">
                <a:solidFill>
                  <a:schemeClr val="bg2"/>
                </a:solidFill>
                <a:latin typeface="Avenir Next LT Pro" panose="020B0504020202020204" pitchFamily="34" charset="77"/>
              </a:rPr>
              <a:t>… Zukunftsbilder </a:t>
            </a:r>
            <a:r>
              <a:rPr lang="de-DE" sz="2000">
                <a:solidFill>
                  <a:schemeClr val="bg2"/>
                </a:solidFill>
                <a:latin typeface="Avenir Next LT Pro" panose="020B0504020202020204" pitchFamily="34" charset="77"/>
              </a:rPr>
              <a:t>gemeinsam</a:t>
            </a:r>
            <a:r>
              <a:rPr lang="de-DE" sz="2000" b="0">
                <a:solidFill>
                  <a:schemeClr val="bg2"/>
                </a:solidFill>
                <a:latin typeface="Avenir Next LT Pro" panose="020B0504020202020204" pitchFamily="34" charset="77"/>
              </a:rPr>
              <a:t> verwirklichen. 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ABFB788A-DF9A-F080-5608-DAC016B4E349}"/>
              </a:ext>
            </a:extLst>
          </p:cNvPr>
          <p:cNvCxnSpPr/>
          <p:nvPr/>
        </p:nvCxnSpPr>
        <p:spPr>
          <a:xfrm>
            <a:off x="695325" y="2717800"/>
            <a:ext cx="1057275" cy="0"/>
          </a:xfrm>
          <a:prstGeom prst="line">
            <a:avLst/>
          </a:prstGeom>
          <a:ln w="88900" cap="rnd">
            <a:gradFill flip="none" rotWithShape="1">
              <a:gsLst>
                <a:gs pos="0">
                  <a:schemeClr val="accent2"/>
                </a:gs>
                <a:gs pos="50000">
                  <a:schemeClr val="accent4"/>
                </a:gs>
                <a:gs pos="100000">
                  <a:schemeClr val="accent5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>
            <a:extLst>
              <a:ext uri="{FF2B5EF4-FFF2-40B4-BE49-F238E27FC236}">
                <a16:creationId xmlns:a16="http://schemas.microsoft.com/office/drawing/2014/main" id="{5192F733-9458-45AA-542E-C7483B32F79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25324" r="51931" b="10032"/>
          <a:stretch/>
        </p:blipFill>
        <p:spPr>
          <a:xfrm>
            <a:off x="2263270" y="0"/>
            <a:ext cx="9928730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EA1A196-58E1-A7A5-1BDF-8BD711F4A3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692150"/>
            <a:ext cx="8316914" cy="1005236"/>
          </a:xfrm>
        </p:spPr>
        <p:txBody>
          <a:bodyPr vert="horz"/>
          <a:lstStyle/>
          <a:p>
            <a:pPr defTabSz="914377">
              <a:spcBef>
                <a:spcPts val="500"/>
              </a:spcBef>
            </a:pPr>
            <a:r>
              <a:rPr lang="de-DE" kern="0">
                <a:latin typeface="Avenir Next LT Pro" panose="020B0504020202020204" pitchFamily="34" charset="77"/>
                <a:ea typeface="+mn-ea"/>
                <a:cs typeface="+mn-cs"/>
              </a:rPr>
              <a:t>Wir machen Unternehmen zukunftsfähig, </a:t>
            </a:r>
            <a:br>
              <a:rPr lang="de-DE" kern="0">
                <a:latin typeface="Avenir Next LT Pro" panose="020B0504020202020204" pitchFamily="34" charset="77"/>
                <a:ea typeface="+mn-ea"/>
                <a:cs typeface="+mn-cs"/>
              </a:rPr>
            </a:br>
            <a:r>
              <a:rPr lang="de-DE" kern="0">
                <a:latin typeface="Avenir Next LT Pro" panose="020B0504020202020204" pitchFamily="34" charset="77"/>
                <a:ea typeface="+mn-ea"/>
                <a:cs typeface="+mn-cs"/>
              </a:rPr>
              <a:t>indem wir…</a:t>
            </a:r>
            <a:endParaRPr lang="en-US" kern="0"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6AC4924-F02C-70B7-78B9-218780F81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298450"/>
            <a:ext cx="8316913" cy="276380"/>
          </a:xfrm>
        </p:spPr>
        <p:txBody>
          <a:bodyPr/>
          <a:lstStyle/>
          <a:p>
            <a:r>
              <a:rPr lang="de-DE"/>
              <a:t>Unser Leistungsversprechen</a:t>
            </a:r>
          </a:p>
        </p:txBody>
      </p:sp>
    </p:spTree>
    <p:extLst>
      <p:ext uri="{BB962C8B-B14F-4D97-AF65-F5344CB8AC3E}">
        <p14:creationId xmlns:p14="http://schemas.microsoft.com/office/powerpoint/2010/main" val="3564812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reveal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5E5A9C0-0A8B-CDC6-00DD-408BCCA628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864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E5A9C0-0A8B-CDC6-00DD-408BCCA62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el 1">
            <a:extLst>
              <a:ext uri="{FF2B5EF4-FFF2-40B4-BE49-F238E27FC236}">
                <a16:creationId xmlns:a16="http://schemas.microsoft.com/office/drawing/2014/main" id="{31F89CE5-E779-E1D3-04B1-05F3A3BFE25B}"/>
              </a:ext>
            </a:extLst>
          </p:cNvPr>
          <p:cNvSpPr txBox="1">
            <a:spLocks/>
          </p:cNvSpPr>
          <p:nvPr/>
        </p:nvSpPr>
        <p:spPr>
          <a:xfrm>
            <a:off x="1333183" y="2099648"/>
            <a:ext cx="4402455" cy="166199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/>
            <a:r>
              <a:rPr lang="de-DE" sz="3600" noProof="0"/>
              <a:t>Wir laden euch </a:t>
            </a:r>
            <a:br>
              <a:rPr lang="de-DE" sz="3600" noProof="0"/>
            </a:br>
            <a:r>
              <a:rPr lang="de-DE" sz="3600" noProof="0"/>
              <a:t>ein </a:t>
            </a:r>
            <a:r>
              <a:rPr lang="de-DE" sz="3600" b="0" noProof="0"/>
              <a:t>auf eine </a:t>
            </a:r>
            <a:r>
              <a:rPr lang="de-DE" sz="3600">
                <a:gradFill flip="none" rotWithShape="1">
                  <a:gsLst>
                    <a:gs pos="44000">
                      <a:schemeClr val="accent4"/>
                    </a:gs>
                    <a:gs pos="0">
                      <a:schemeClr val="accent2"/>
                    </a:gs>
                    <a:gs pos="84000">
                      <a:schemeClr val="accent5"/>
                    </a:gs>
                  </a:gsLst>
                  <a:lin ang="0" scaled="1"/>
                  <a:tileRect/>
                </a:gradFill>
              </a:rPr>
              <a:t>gedankliche Reise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CAAF663F-B7C7-A640-789C-7627899FC716}"/>
              </a:ext>
            </a:extLst>
          </p:cNvPr>
          <p:cNvSpPr txBox="1">
            <a:spLocks/>
          </p:cNvSpPr>
          <p:nvPr/>
        </p:nvSpPr>
        <p:spPr bwMode="gray">
          <a:xfrm>
            <a:off x="1333183" y="4142799"/>
            <a:ext cx="4402455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</a:pPr>
            <a:r>
              <a:rPr lang="de-DE" sz="2000"/>
              <a:t>… auf der wir gemeinsam </a:t>
            </a:r>
            <a:br>
              <a:rPr lang="de-DE" sz="2000"/>
            </a:br>
            <a:r>
              <a:rPr lang="de-DE" sz="2000"/>
              <a:t>ein Zukunftsbild gestalten!</a:t>
            </a: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E2199F72-0730-C547-90FB-0EBBD3B96910}"/>
              </a:ext>
            </a:extLst>
          </p:cNvPr>
          <p:cNvSpPr txBox="1">
            <a:spLocks/>
          </p:cNvSpPr>
          <p:nvPr/>
        </p:nvSpPr>
        <p:spPr>
          <a:xfrm>
            <a:off x="7094220" y="1986510"/>
            <a:ext cx="4402455" cy="1107996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3600" b="0" noProof="0"/>
              <a:t>Ziel unserer </a:t>
            </a:r>
            <a:r>
              <a:rPr lang="de-DE" sz="3600" err="1">
                <a:gradFill flip="none" rotWithShape="1">
                  <a:gsLst>
                    <a:gs pos="44000">
                      <a:schemeClr val="accent4"/>
                    </a:gs>
                    <a:gs pos="0">
                      <a:schemeClr val="accent2"/>
                    </a:gs>
                    <a:gs pos="84000">
                      <a:schemeClr val="accent5"/>
                    </a:gs>
                  </a:gsLst>
                  <a:lin ang="0" scaled="1"/>
                  <a:tileRect/>
                </a:gradFill>
              </a:rPr>
              <a:t>Masterclass</a:t>
            </a:r>
            <a:endParaRPr lang="de-DE" sz="3600">
              <a:gradFill flip="none" rotWithShape="1">
                <a:gsLst>
                  <a:gs pos="44000">
                    <a:schemeClr val="accent4"/>
                  </a:gs>
                  <a:gs pos="0">
                    <a:schemeClr val="accent2"/>
                  </a:gs>
                  <a:gs pos="84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  <p:pic>
        <p:nvPicPr>
          <p:cNvPr id="9" name="Bildplatzhalter 11">
            <a:extLst>
              <a:ext uri="{FF2B5EF4-FFF2-40B4-BE49-F238E27FC236}">
                <a16:creationId xmlns:a16="http://schemas.microsoft.com/office/drawing/2014/main" id="{BF70BD18-BC60-2409-6E2E-AD11105F17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5"/>
          <a:srcRect l="15282" t="26126" b="32020"/>
          <a:stretch/>
        </p:blipFill>
        <p:spPr>
          <a:xfrm>
            <a:off x="-1990952" y="1178719"/>
            <a:ext cx="8086952" cy="4500562"/>
          </a:xfrm>
          <a:prstGeom prst="roundRect">
            <a:avLst>
              <a:gd name="adj" fmla="val 50000"/>
            </a:avLst>
          </a:prstGeom>
          <a:noFill/>
        </p:spPr>
      </p:pic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BAF54F0A-6528-46DB-DEBF-D9AF568F413B}"/>
              </a:ext>
            </a:extLst>
          </p:cNvPr>
          <p:cNvSpPr txBox="1">
            <a:spLocks/>
          </p:cNvSpPr>
          <p:nvPr/>
        </p:nvSpPr>
        <p:spPr bwMode="gray">
          <a:xfrm>
            <a:off x="7094220" y="3588158"/>
            <a:ext cx="440245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000"/>
              <a:t>Wir öffnen heute den Raum für</a:t>
            </a:r>
            <a:endParaRPr lang="en-US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77C0D878-0524-8AA8-ED2B-9ABB2E3C7C5E}"/>
              </a:ext>
            </a:extLst>
          </p:cNvPr>
          <p:cNvSpPr txBox="1">
            <a:spLocks/>
          </p:cNvSpPr>
          <p:nvPr/>
        </p:nvSpPr>
        <p:spPr bwMode="gray">
          <a:xfrm>
            <a:off x="7094220" y="4075935"/>
            <a:ext cx="440245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000"/>
              <a:t>Möglichkeiten, in dem wir ein</a:t>
            </a:r>
            <a:endParaRPr lang="en-US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1EA13016-DB3E-20A6-E62A-099DF546E5C9}"/>
              </a:ext>
            </a:extLst>
          </p:cNvPr>
          <p:cNvSpPr txBox="1">
            <a:spLocks/>
          </p:cNvSpPr>
          <p:nvPr/>
        </p:nvSpPr>
        <p:spPr bwMode="gray">
          <a:xfrm>
            <a:off x="7094220" y="4563712"/>
            <a:ext cx="440245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000"/>
              <a:t>ambitioniertes Zukunftsbild skizzieren</a:t>
            </a:r>
            <a:endParaRPr lang="en-US"/>
          </a:p>
        </p:txBody>
      </p:sp>
      <p:pic>
        <p:nvPicPr>
          <p:cNvPr id="36" name="Grafik 35" descr="Ein Bild, das Gelände, draußen, Schatten enthält.&#10;&#10;KI-generierte Inhalte können fehlerhaft sein.">
            <a:extLst>
              <a:ext uri="{FF2B5EF4-FFF2-40B4-BE49-F238E27FC236}">
                <a16:creationId xmlns:a16="http://schemas.microsoft.com/office/drawing/2014/main" id="{B8867BC0-EB87-BE2B-27DF-5DB18824C72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61" b="8261"/>
          <a:stretch/>
        </p:blipFill>
        <p:spPr>
          <a:xfrm>
            <a:off x="12192000" y="1178719"/>
            <a:ext cx="8086952" cy="4500562"/>
          </a:xfrm>
          <a:custGeom>
            <a:avLst/>
            <a:gdLst>
              <a:gd name="connsiteX0" fmla="*/ 2250281 w 8086952"/>
              <a:gd name="connsiteY0" fmla="*/ 0 h 4500562"/>
              <a:gd name="connsiteX1" fmla="*/ 5836671 w 8086952"/>
              <a:gd name="connsiteY1" fmla="*/ 0 h 4500562"/>
              <a:gd name="connsiteX2" fmla="*/ 8086952 w 8086952"/>
              <a:gd name="connsiteY2" fmla="*/ 2250281 h 4500562"/>
              <a:gd name="connsiteX3" fmla="*/ 5836671 w 8086952"/>
              <a:gd name="connsiteY3" fmla="*/ 4500562 h 4500562"/>
              <a:gd name="connsiteX4" fmla="*/ 2250281 w 8086952"/>
              <a:gd name="connsiteY4" fmla="*/ 4500562 h 4500562"/>
              <a:gd name="connsiteX5" fmla="*/ 0 w 8086952"/>
              <a:gd name="connsiteY5" fmla="*/ 2250281 h 4500562"/>
              <a:gd name="connsiteX6" fmla="*/ 2250281 w 8086952"/>
              <a:gd name="connsiteY6" fmla="*/ 0 h 4500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86952" h="4500562">
                <a:moveTo>
                  <a:pt x="2250281" y="0"/>
                </a:moveTo>
                <a:lnTo>
                  <a:pt x="5836671" y="0"/>
                </a:lnTo>
                <a:cubicBezTo>
                  <a:pt x="7079467" y="0"/>
                  <a:pt x="8086952" y="1007485"/>
                  <a:pt x="8086952" y="2250281"/>
                </a:cubicBezTo>
                <a:cubicBezTo>
                  <a:pt x="8086952" y="3493077"/>
                  <a:pt x="7079467" y="4500562"/>
                  <a:pt x="5836671" y="4500562"/>
                </a:cubicBezTo>
                <a:lnTo>
                  <a:pt x="2250281" y="4500562"/>
                </a:lnTo>
                <a:cubicBezTo>
                  <a:pt x="1007485" y="4500562"/>
                  <a:pt x="0" y="3493077"/>
                  <a:pt x="0" y="2250281"/>
                </a:cubicBezTo>
                <a:cubicBezTo>
                  <a:pt x="0" y="1007485"/>
                  <a:pt x="1007485" y="0"/>
                  <a:pt x="2250281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5955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6F3DF76-7E17-9AE2-A2E8-889A986580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4085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F3DF76-7E17-9AE2-A2E8-889A9865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BC741261-905E-AC5D-5081-2E39436703A1}"/>
              </a:ext>
            </a:extLst>
          </p:cNvPr>
          <p:cNvSpPr txBox="1">
            <a:spLocks/>
          </p:cNvSpPr>
          <p:nvPr/>
        </p:nvSpPr>
        <p:spPr>
          <a:xfrm>
            <a:off x="2002785" y="1908092"/>
            <a:ext cx="8183434" cy="1477328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3200" b="1">
                <a:solidFill>
                  <a:schemeClr val="bg2"/>
                </a:solidFill>
                <a:latin typeface="Avenir Next LT Pro" panose="020B0504020202020204" pitchFamily="34" charset="0"/>
              </a:rPr>
              <a:t>„Wir überschätzen, </a:t>
            </a:r>
            <a:r>
              <a:rPr lang="de-DE" sz="3200">
                <a:solidFill>
                  <a:schemeClr val="bg2"/>
                </a:solidFill>
                <a:latin typeface="Avenir Next LT Pro" panose="020B0504020202020204" pitchFamily="34" charset="0"/>
              </a:rPr>
              <a:t>was wir in </a:t>
            </a:r>
            <a:r>
              <a:rPr lang="de-DE" sz="3200" b="1">
                <a:solidFill>
                  <a:schemeClr val="accent2"/>
                </a:solidFill>
                <a:latin typeface="Avenir Next LT Pro" panose="020B0504020202020204" pitchFamily="34" charset="0"/>
              </a:rPr>
              <a:t>1 Jahr </a:t>
            </a:r>
            <a:r>
              <a:rPr lang="de-DE" sz="3200">
                <a:solidFill>
                  <a:schemeClr val="bg2"/>
                </a:solidFill>
                <a:latin typeface="Avenir Next LT Pro" panose="020B0504020202020204" pitchFamily="34" charset="0"/>
              </a:rPr>
              <a:t>erreichen können und </a:t>
            </a:r>
            <a:r>
              <a:rPr lang="de-DE" sz="3200" b="1">
                <a:solidFill>
                  <a:schemeClr val="bg2"/>
                </a:solidFill>
                <a:latin typeface="Avenir Next LT Pro" panose="020B0504020202020204" pitchFamily="34" charset="0"/>
              </a:rPr>
              <a:t>wir unterschätzen, </a:t>
            </a:r>
            <a:r>
              <a:rPr lang="de-DE" sz="3200">
                <a:solidFill>
                  <a:schemeClr val="bg2"/>
                </a:solidFill>
                <a:latin typeface="Avenir Next LT Pro" panose="020B0504020202020204" pitchFamily="34" charset="0"/>
              </a:rPr>
              <a:t>was wir in </a:t>
            </a:r>
            <a:r>
              <a:rPr lang="de-DE" sz="3200" b="1">
                <a:solidFill>
                  <a:schemeClr val="accent2"/>
                </a:solidFill>
                <a:latin typeface="Avenir Next LT Pro" panose="020B0504020202020204" pitchFamily="34" charset="0"/>
              </a:rPr>
              <a:t>10 Jahren </a:t>
            </a:r>
            <a:r>
              <a:rPr lang="de-DE" sz="3200">
                <a:solidFill>
                  <a:schemeClr val="bg2"/>
                </a:solidFill>
                <a:latin typeface="Avenir Next LT Pro" panose="020B0504020202020204" pitchFamily="34" charset="0"/>
              </a:rPr>
              <a:t>erreichen können!“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6CAE909-785E-EF2A-922C-58D66F28AFD1}"/>
              </a:ext>
            </a:extLst>
          </p:cNvPr>
          <p:cNvSpPr txBox="1">
            <a:spLocks/>
          </p:cNvSpPr>
          <p:nvPr/>
        </p:nvSpPr>
        <p:spPr>
          <a:xfrm>
            <a:off x="1449477" y="4629321"/>
            <a:ext cx="92900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2000" b="1" i="1">
                <a:solidFill>
                  <a:schemeClr val="bg2">
                    <a:alpha val="60000"/>
                  </a:schemeClr>
                </a:solidFill>
              </a:rPr>
              <a:t>Bill Gates </a:t>
            </a:r>
            <a:br>
              <a:rPr lang="de-DE" sz="2000" b="1" i="1">
                <a:solidFill>
                  <a:schemeClr val="bg2">
                    <a:alpha val="60000"/>
                  </a:schemeClr>
                </a:solidFill>
              </a:rPr>
            </a:br>
            <a:r>
              <a:rPr lang="de-DE" sz="2000" i="1">
                <a:solidFill>
                  <a:schemeClr val="bg2">
                    <a:alpha val="60000"/>
                  </a:schemeClr>
                </a:solidFill>
              </a:rPr>
              <a:t>Microsoft | Bill &amp; Melinda Gates </a:t>
            </a:r>
            <a:r>
              <a:rPr lang="de-DE" sz="2000" i="1" err="1">
                <a:solidFill>
                  <a:schemeClr val="bg2">
                    <a:alpha val="60000"/>
                  </a:schemeClr>
                </a:solidFill>
              </a:rPr>
              <a:t>Foundation</a:t>
            </a:r>
            <a:endParaRPr lang="de-DE" sz="2000" i="1">
              <a:solidFill>
                <a:schemeClr val="bg2">
                  <a:alpha val="60000"/>
                </a:schemeClr>
              </a:solidFill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6A77E3F-28BA-F3B5-5066-F224D94041B9}"/>
              </a:ext>
            </a:extLst>
          </p:cNvPr>
          <p:cNvCxnSpPr>
            <a:cxnSpLocks/>
          </p:cNvCxnSpPr>
          <p:nvPr/>
        </p:nvCxnSpPr>
        <p:spPr>
          <a:xfrm>
            <a:off x="5595093" y="4233510"/>
            <a:ext cx="787400" cy="0"/>
          </a:xfrm>
          <a:prstGeom prst="line">
            <a:avLst/>
          </a:prstGeom>
          <a:ln w="88900" cap="rnd">
            <a:gradFill flip="none" rotWithShape="1">
              <a:gsLst>
                <a:gs pos="0">
                  <a:schemeClr val="accent2"/>
                </a:gs>
                <a:gs pos="50000">
                  <a:schemeClr val="accent4"/>
                </a:gs>
                <a:gs pos="100000">
                  <a:schemeClr val="accent5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lipse 10">
            <a:extLst>
              <a:ext uri="{FF2B5EF4-FFF2-40B4-BE49-F238E27FC236}">
                <a16:creationId xmlns:a16="http://schemas.microsoft.com/office/drawing/2014/main" id="{7C7075C7-BEAB-CE2D-4FA1-79F84B958BA0}"/>
              </a:ext>
            </a:extLst>
          </p:cNvPr>
          <p:cNvSpPr>
            <a:spLocks/>
          </p:cNvSpPr>
          <p:nvPr/>
        </p:nvSpPr>
        <p:spPr>
          <a:xfrm>
            <a:off x="6509772" y="4191441"/>
            <a:ext cx="84138" cy="8413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 descr="Ein Bild, das Gelände, draußen, Schatten enthält.&#10;&#10;KI-generierte Inhalte können fehlerhaft sein.">
            <a:extLst>
              <a:ext uri="{FF2B5EF4-FFF2-40B4-BE49-F238E27FC236}">
                <a16:creationId xmlns:a16="http://schemas.microsoft.com/office/drawing/2014/main" id="{CF643327-E729-054D-BB66-632A3C11911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61" b="8261"/>
          <a:stretch/>
        </p:blipFill>
        <p:spPr>
          <a:xfrm>
            <a:off x="12192000" y="1178719"/>
            <a:ext cx="8086952" cy="4500562"/>
          </a:xfrm>
          <a:custGeom>
            <a:avLst/>
            <a:gdLst>
              <a:gd name="connsiteX0" fmla="*/ 2250281 w 8086952"/>
              <a:gd name="connsiteY0" fmla="*/ 0 h 4500562"/>
              <a:gd name="connsiteX1" fmla="*/ 5836671 w 8086952"/>
              <a:gd name="connsiteY1" fmla="*/ 0 h 4500562"/>
              <a:gd name="connsiteX2" fmla="*/ 8086952 w 8086952"/>
              <a:gd name="connsiteY2" fmla="*/ 2250281 h 4500562"/>
              <a:gd name="connsiteX3" fmla="*/ 5836671 w 8086952"/>
              <a:gd name="connsiteY3" fmla="*/ 4500562 h 4500562"/>
              <a:gd name="connsiteX4" fmla="*/ 2250281 w 8086952"/>
              <a:gd name="connsiteY4" fmla="*/ 4500562 h 4500562"/>
              <a:gd name="connsiteX5" fmla="*/ 0 w 8086952"/>
              <a:gd name="connsiteY5" fmla="*/ 2250281 h 4500562"/>
              <a:gd name="connsiteX6" fmla="*/ 2250281 w 8086952"/>
              <a:gd name="connsiteY6" fmla="*/ 0 h 4500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86952" h="4500562">
                <a:moveTo>
                  <a:pt x="2250281" y="0"/>
                </a:moveTo>
                <a:lnTo>
                  <a:pt x="5836671" y="0"/>
                </a:lnTo>
                <a:cubicBezTo>
                  <a:pt x="7079467" y="0"/>
                  <a:pt x="8086952" y="1007485"/>
                  <a:pt x="8086952" y="2250281"/>
                </a:cubicBezTo>
                <a:cubicBezTo>
                  <a:pt x="8086952" y="3493077"/>
                  <a:pt x="7079467" y="4500562"/>
                  <a:pt x="5836671" y="4500562"/>
                </a:cubicBezTo>
                <a:lnTo>
                  <a:pt x="2250281" y="4500562"/>
                </a:lnTo>
                <a:cubicBezTo>
                  <a:pt x="1007485" y="4500562"/>
                  <a:pt x="0" y="3493077"/>
                  <a:pt x="0" y="2250281"/>
                </a:cubicBezTo>
                <a:cubicBezTo>
                  <a:pt x="0" y="1007485"/>
                  <a:pt x="1007485" y="0"/>
                  <a:pt x="2250281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2517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6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41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91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4215A0-CA1E-63BE-5B1C-96EC105E0B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73CB0F7-2A32-1EF2-67CE-342C8722FA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768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3CB0F7-2A32-1EF2-67CE-342C8722FA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F72B743A-96A5-6448-9257-27E85C097E9B}"/>
              </a:ext>
            </a:extLst>
          </p:cNvPr>
          <p:cNvSpPr txBox="1">
            <a:spLocks/>
          </p:cNvSpPr>
          <p:nvPr/>
        </p:nvSpPr>
        <p:spPr bwMode="gray">
          <a:xfrm>
            <a:off x="1333183" y="4142799"/>
            <a:ext cx="440245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</a:pPr>
            <a:endParaRPr lang="de-DE" sz="2000"/>
          </a:p>
        </p:txBody>
      </p:sp>
      <p:pic>
        <p:nvPicPr>
          <p:cNvPr id="2" name="Grafik 1" descr="Ein Bild, das Gelände, draußen, Schatten enthält.&#10;&#10;KI-generierte Inhalte können fehlerhaft sein.">
            <a:extLst>
              <a:ext uri="{FF2B5EF4-FFF2-40B4-BE49-F238E27FC236}">
                <a16:creationId xmlns:a16="http://schemas.microsoft.com/office/drawing/2014/main" id="{5A166777-D1D6-6F2D-0AA5-7A8067AAA1C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61" b="8261"/>
          <a:stretch/>
        </p:blipFill>
        <p:spPr>
          <a:xfrm>
            <a:off x="6456363" y="1178719"/>
            <a:ext cx="8086952" cy="4500562"/>
          </a:xfrm>
          <a:custGeom>
            <a:avLst/>
            <a:gdLst>
              <a:gd name="connsiteX0" fmla="*/ 2250281 w 8086952"/>
              <a:gd name="connsiteY0" fmla="*/ 0 h 4500562"/>
              <a:gd name="connsiteX1" fmla="*/ 5836671 w 8086952"/>
              <a:gd name="connsiteY1" fmla="*/ 0 h 4500562"/>
              <a:gd name="connsiteX2" fmla="*/ 8086952 w 8086952"/>
              <a:gd name="connsiteY2" fmla="*/ 2250281 h 4500562"/>
              <a:gd name="connsiteX3" fmla="*/ 5836671 w 8086952"/>
              <a:gd name="connsiteY3" fmla="*/ 4500562 h 4500562"/>
              <a:gd name="connsiteX4" fmla="*/ 2250281 w 8086952"/>
              <a:gd name="connsiteY4" fmla="*/ 4500562 h 4500562"/>
              <a:gd name="connsiteX5" fmla="*/ 0 w 8086952"/>
              <a:gd name="connsiteY5" fmla="*/ 2250281 h 4500562"/>
              <a:gd name="connsiteX6" fmla="*/ 2250281 w 8086952"/>
              <a:gd name="connsiteY6" fmla="*/ 0 h 4500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86952" h="4500562">
                <a:moveTo>
                  <a:pt x="2250281" y="0"/>
                </a:moveTo>
                <a:lnTo>
                  <a:pt x="5836671" y="0"/>
                </a:lnTo>
                <a:cubicBezTo>
                  <a:pt x="7079467" y="0"/>
                  <a:pt x="8086952" y="1007485"/>
                  <a:pt x="8086952" y="2250281"/>
                </a:cubicBezTo>
                <a:cubicBezTo>
                  <a:pt x="8086952" y="3493077"/>
                  <a:pt x="7079467" y="4500562"/>
                  <a:pt x="5836671" y="4500562"/>
                </a:cubicBezTo>
                <a:lnTo>
                  <a:pt x="2250281" y="4500562"/>
                </a:lnTo>
                <a:cubicBezTo>
                  <a:pt x="1007485" y="4500562"/>
                  <a:pt x="0" y="3493077"/>
                  <a:pt x="0" y="2250281"/>
                </a:cubicBezTo>
                <a:cubicBezTo>
                  <a:pt x="0" y="1007485"/>
                  <a:pt x="1007485" y="0"/>
                  <a:pt x="2250281" y="0"/>
                </a:cubicBezTo>
                <a:close/>
              </a:path>
            </a:pathLst>
          </a:cu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AE5625A9-3682-ADD3-D282-2FA9346AD6E1}"/>
              </a:ext>
            </a:extLst>
          </p:cNvPr>
          <p:cNvSpPr txBox="1">
            <a:spLocks/>
          </p:cNvSpPr>
          <p:nvPr/>
        </p:nvSpPr>
        <p:spPr>
          <a:xfrm>
            <a:off x="695325" y="2685802"/>
            <a:ext cx="5040313" cy="5539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/>
            <a:r>
              <a:rPr lang="de-DE" sz="3600" noProof="0"/>
              <a:t>Wir laden euch ein</a:t>
            </a:r>
            <a:endParaRPr lang="de-DE" sz="3600">
              <a:gradFill flip="none" rotWithShape="1">
                <a:gsLst>
                  <a:gs pos="44000">
                    <a:schemeClr val="accent4"/>
                  </a:gs>
                  <a:gs pos="0">
                    <a:schemeClr val="accent2"/>
                  </a:gs>
                  <a:gs pos="84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BED8891-3D41-6C00-E8BE-232AF0CA8450}"/>
              </a:ext>
            </a:extLst>
          </p:cNvPr>
          <p:cNvSpPr txBox="1">
            <a:spLocks/>
          </p:cNvSpPr>
          <p:nvPr/>
        </p:nvSpPr>
        <p:spPr>
          <a:xfrm>
            <a:off x="695325" y="3239800"/>
            <a:ext cx="5040313" cy="5539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/>
            <a:r>
              <a:rPr lang="de-DE" sz="3600" b="0" noProof="0"/>
              <a:t>auf eine</a:t>
            </a:r>
            <a:endParaRPr lang="de-DE" sz="3600">
              <a:gradFill flip="none" rotWithShape="1">
                <a:gsLst>
                  <a:gs pos="44000">
                    <a:schemeClr val="accent4"/>
                  </a:gs>
                  <a:gs pos="0">
                    <a:schemeClr val="accent2"/>
                  </a:gs>
                  <a:gs pos="84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22E6EF4C-31D0-07C2-9FB1-4EA8B371E9AF}"/>
              </a:ext>
            </a:extLst>
          </p:cNvPr>
          <p:cNvSpPr txBox="1">
            <a:spLocks/>
          </p:cNvSpPr>
          <p:nvPr/>
        </p:nvSpPr>
        <p:spPr>
          <a:xfrm>
            <a:off x="1676400" y="3793798"/>
            <a:ext cx="4059238" cy="5539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/>
            <a:r>
              <a:rPr lang="de-DE" sz="3600">
                <a:gradFill flip="none" rotWithShape="1">
                  <a:gsLst>
                    <a:gs pos="44000">
                      <a:schemeClr val="accent4"/>
                    </a:gs>
                    <a:gs pos="0">
                      <a:schemeClr val="accent2"/>
                    </a:gs>
                    <a:gs pos="84000">
                      <a:schemeClr val="accent5"/>
                    </a:gs>
                  </a:gsLst>
                  <a:lin ang="0" scaled="1"/>
                  <a:tileRect/>
                </a:gradFill>
              </a:rPr>
              <a:t>gedankliche Reise</a:t>
            </a:r>
          </a:p>
        </p:txBody>
      </p:sp>
    </p:spTree>
    <p:extLst>
      <p:ext uri="{BB962C8B-B14F-4D97-AF65-F5344CB8AC3E}">
        <p14:creationId xmlns:p14="http://schemas.microsoft.com/office/powerpoint/2010/main" val="16659334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0 L 2.70833E-6 0.0386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79167E-6 -3.33333E-6 L -0.05572 0.0007 " pathEditMode="relative" rAng="0" ptsTypes="AA">
                                      <p:cBhvr>
                                        <p:cTn id="18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8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0" presetClass="entr" presetSubtype="0" fill="hold" grpId="0" nodeType="after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2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3" grpId="0"/>
      <p:bldP spid="3" grpId="1"/>
      <p:bldP spid="4" grpId="0"/>
      <p:bldP spid="6" grpId="0"/>
      <p:bldP spid="6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F2F27F-E437-2E86-C8A8-2F768A207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C8634E0-EB70-0593-1B3E-FC605192FD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8893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8634E0-EB70-0593-1B3E-FC605192F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 descr="Ein Bild, das Menschliches Gesicht, Person, Kleidung, Mensch enthält.&#10;&#10;KI-generierte Inhalte können fehlerhaft sein.">
            <a:extLst>
              <a:ext uri="{FF2B5EF4-FFF2-40B4-BE49-F238E27FC236}">
                <a16:creationId xmlns:a16="http://schemas.microsoft.com/office/drawing/2014/main" id="{A83BE84D-643A-9D67-E41F-B435AFA8666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3" t="4194" b="2032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032DFBE7-7454-5814-39DE-2885DD672821}"/>
              </a:ext>
            </a:extLst>
          </p:cNvPr>
          <p:cNvGrpSpPr>
            <a:grpSpLocks/>
          </p:cNvGrpSpPr>
          <p:nvPr/>
        </p:nvGrpSpPr>
        <p:grpSpPr>
          <a:xfrm rot="10800000">
            <a:off x="695325" y="-5716"/>
            <a:ext cx="11496674" cy="6869430"/>
            <a:chOff x="1" y="-5713"/>
            <a:chExt cx="11496674" cy="686943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67067895-BDAD-5476-231D-E31D2CB6CFCE}"/>
                </a:ext>
              </a:extLst>
            </p:cNvPr>
            <p:cNvSpPr>
              <a:spLocks/>
            </p:cNvSpPr>
            <p:nvPr/>
          </p:nvSpPr>
          <p:spPr>
            <a:xfrm>
              <a:off x="1" y="-5712"/>
              <a:ext cx="8577943" cy="6869429"/>
            </a:xfrm>
            <a:prstGeom prst="rect">
              <a:avLst/>
            </a:prstGeom>
            <a:gradFill flip="none" rotWithShape="1">
              <a:gsLst>
                <a:gs pos="69000">
                  <a:schemeClr val="accent6">
                    <a:alpha val="50000"/>
                  </a:schemeClr>
                </a:gs>
                <a:gs pos="0">
                  <a:schemeClr val="accent6">
                    <a:alpha val="0"/>
                  </a:schemeClr>
                </a:gs>
                <a:gs pos="100000">
                  <a:schemeClr val="accent6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EA00734-70CB-EDBB-ECEE-C68517796BC6}"/>
                </a:ext>
              </a:extLst>
            </p:cNvPr>
            <p:cNvSpPr>
              <a:spLocks/>
            </p:cNvSpPr>
            <p:nvPr/>
          </p:nvSpPr>
          <p:spPr>
            <a:xfrm>
              <a:off x="1" y="-5713"/>
              <a:ext cx="11496674" cy="6869428"/>
            </a:xfrm>
            <a:prstGeom prst="rect">
              <a:avLst/>
            </a:prstGeom>
            <a:gradFill flip="none" rotWithShape="1">
              <a:gsLst>
                <a:gs pos="69000">
                  <a:schemeClr val="accent6">
                    <a:alpha val="50000"/>
                  </a:schemeClr>
                </a:gs>
                <a:gs pos="52000">
                  <a:schemeClr val="accent6">
                    <a:alpha val="0"/>
                  </a:schemeClr>
                </a:gs>
                <a:gs pos="100000">
                  <a:schemeClr val="accent6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5037854C-3308-B341-4096-2DF42703CF88}"/>
              </a:ext>
            </a:extLst>
          </p:cNvPr>
          <p:cNvSpPr>
            <a:spLocks noChangeAspect="1"/>
          </p:cNvSpPr>
          <p:nvPr/>
        </p:nvSpPr>
        <p:spPr>
          <a:xfrm>
            <a:off x="10763251" y="6546019"/>
            <a:ext cx="1044000" cy="123802"/>
          </a:xfrm>
          <a:custGeom>
            <a:avLst/>
            <a:gdLst>
              <a:gd name="connsiteX0" fmla="*/ 3119409 w 7622651"/>
              <a:gd name="connsiteY0" fmla="*/ 453933 h 903922"/>
              <a:gd name="connsiteX1" fmla="*/ 3079613 w 7622651"/>
              <a:gd name="connsiteY1" fmla="*/ 458379 h 903922"/>
              <a:gd name="connsiteX2" fmla="*/ 3044616 w 7622651"/>
              <a:gd name="connsiteY2" fmla="*/ 471215 h 903922"/>
              <a:gd name="connsiteX3" fmla="*/ 3015659 w 7622651"/>
              <a:gd name="connsiteY3" fmla="*/ 491868 h 903922"/>
              <a:gd name="connsiteX4" fmla="*/ 2992741 w 7622651"/>
              <a:gd name="connsiteY4" fmla="*/ 519764 h 903922"/>
              <a:gd name="connsiteX5" fmla="*/ 2978262 w 7622651"/>
              <a:gd name="connsiteY5" fmla="*/ 554401 h 903922"/>
              <a:gd name="connsiteX6" fmla="*/ 2973462 w 7622651"/>
              <a:gd name="connsiteY6" fmla="*/ 594631 h 903922"/>
              <a:gd name="connsiteX7" fmla="*/ 2978262 w 7622651"/>
              <a:gd name="connsiteY7" fmla="*/ 635363 h 903922"/>
              <a:gd name="connsiteX8" fmla="*/ 2992663 w 7622651"/>
              <a:gd name="connsiteY8" fmla="*/ 669354 h 903922"/>
              <a:gd name="connsiteX9" fmla="*/ 3015581 w 7622651"/>
              <a:gd name="connsiteY9" fmla="*/ 697250 h 903922"/>
              <a:gd name="connsiteX10" fmla="*/ 3044539 w 7622651"/>
              <a:gd name="connsiteY10" fmla="*/ 718476 h 903922"/>
              <a:gd name="connsiteX11" fmla="*/ 3079535 w 7622651"/>
              <a:gd name="connsiteY11" fmla="*/ 731313 h 903922"/>
              <a:gd name="connsiteX12" fmla="*/ 3119332 w 7622651"/>
              <a:gd name="connsiteY12" fmla="*/ 735257 h 903922"/>
              <a:gd name="connsiteX13" fmla="*/ 3158587 w 7622651"/>
              <a:gd name="connsiteY13" fmla="*/ 731384 h 903922"/>
              <a:gd name="connsiteX14" fmla="*/ 3194125 w 7622651"/>
              <a:gd name="connsiteY14" fmla="*/ 718548 h 903922"/>
              <a:gd name="connsiteX15" fmla="*/ 3223702 w 7622651"/>
              <a:gd name="connsiteY15" fmla="*/ 697321 h 903922"/>
              <a:gd name="connsiteX16" fmla="*/ 3246001 w 7622651"/>
              <a:gd name="connsiteY16" fmla="*/ 669426 h 903922"/>
              <a:gd name="connsiteX17" fmla="*/ 3259860 w 7622651"/>
              <a:gd name="connsiteY17" fmla="*/ 635363 h 903922"/>
              <a:gd name="connsiteX18" fmla="*/ 3265280 w 7622651"/>
              <a:gd name="connsiteY18" fmla="*/ 594631 h 903922"/>
              <a:gd name="connsiteX19" fmla="*/ 3259860 w 7622651"/>
              <a:gd name="connsiteY19" fmla="*/ 554401 h 903922"/>
              <a:gd name="connsiteX20" fmla="*/ 3246001 w 7622651"/>
              <a:gd name="connsiteY20" fmla="*/ 519764 h 903922"/>
              <a:gd name="connsiteX21" fmla="*/ 3223702 w 7622651"/>
              <a:gd name="connsiteY21" fmla="*/ 491868 h 903922"/>
              <a:gd name="connsiteX22" fmla="*/ 3194125 w 7622651"/>
              <a:gd name="connsiteY22" fmla="*/ 471215 h 903922"/>
              <a:gd name="connsiteX23" fmla="*/ 3158587 w 7622651"/>
              <a:gd name="connsiteY23" fmla="*/ 458379 h 903922"/>
              <a:gd name="connsiteX24" fmla="*/ 3119409 w 7622651"/>
              <a:gd name="connsiteY24" fmla="*/ 453933 h 903922"/>
              <a:gd name="connsiteX25" fmla="*/ 1585372 w 7622651"/>
              <a:gd name="connsiteY25" fmla="*/ 414277 h 903922"/>
              <a:gd name="connsiteX26" fmla="*/ 1549833 w 7622651"/>
              <a:gd name="connsiteY26" fmla="*/ 417647 h 903922"/>
              <a:gd name="connsiteX27" fmla="*/ 1517856 w 7622651"/>
              <a:gd name="connsiteY27" fmla="*/ 426611 h 903922"/>
              <a:gd name="connsiteX28" fmla="*/ 1490138 w 7622651"/>
              <a:gd name="connsiteY28" fmla="*/ 441097 h 903922"/>
              <a:gd name="connsiteX29" fmla="*/ 1468459 w 7622651"/>
              <a:gd name="connsiteY29" fmla="*/ 461176 h 903922"/>
              <a:gd name="connsiteX30" fmla="*/ 1452199 w 7622651"/>
              <a:gd name="connsiteY30" fmla="*/ 486848 h 903922"/>
              <a:gd name="connsiteX31" fmla="*/ 1443760 w 7622651"/>
              <a:gd name="connsiteY31" fmla="*/ 517541 h 903922"/>
              <a:gd name="connsiteX32" fmla="*/ 1443760 w 7622651"/>
              <a:gd name="connsiteY32" fmla="*/ 517613 h 903922"/>
              <a:gd name="connsiteX33" fmla="*/ 1725822 w 7622651"/>
              <a:gd name="connsiteY33" fmla="*/ 517613 h 903922"/>
              <a:gd name="connsiteX34" fmla="*/ 1709563 w 7622651"/>
              <a:gd name="connsiteY34" fmla="*/ 473510 h 903922"/>
              <a:gd name="connsiteX35" fmla="*/ 1678825 w 7622651"/>
              <a:gd name="connsiteY35" fmla="*/ 441097 h 903922"/>
              <a:gd name="connsiteX36" fmla="*/ 1636628 w 7622651"/>
              <a:gd name="connsiteY36" fmla="*/ 421519 h 903922"/>
              <a:gd name="connsiteX37" fmla="*/ 1585372 w 7622651"/>
              <a:gd name="connsiteY37" fmla="*/ 414277 h 903922"/>
              <a:gd name="connsiteX38" fmla="*/ 5786575 w 7622651"/>
              <a:gd name="connsiteY38" fmla="*/ 386309 h 903922"/>
              <a:gd name="connsiteX39" fmla="*/ 5729590 w 7622651"/>
              <a:gd name="connsiteY39" fmla="*/ 392978 h 903922"/>
              <a:gd name="connsiteX40" fmla="*/ 5678643 w 7622651"/>
              <a:gd name="connsiteY40" fmla="*/ 412269 h 903922"/>
              <a:gd name="connsiteX41" fmla="*/ 5635517 w 7622651"/>
              <a:gd name="connsiteY41" fmla="*/ 442961 h 903922"/>
              <a:gd name="connsiteX42" fmla="*/ 5602069 w 7622651"/>
              <a:gd name="connsiteY42" fmla="*/ 484267 h 903922"/>
              <a:gd name="connsiteX43" fmla="*/ 5580699 w 7622651"/>
              <a:gd name="connsiteY43" fmla="*/ 535325 h 903922"/>
              <a:gd name="connsiteX44" fmla="*/ 5573189 w 7622651"/>
              <a:gd name="connsiteY44" fmla="*/ 595635 h 903922"/>
              <a:gd name="connsiteX45" fmla="*/ 5580699 w 7622651"/>
              <a:gd name="connsiteY45" fmla="*/ 656231 h 903922"/>
              <a:gd name="connsiteX46" fmla="*/ 5602069 w 7622651"/>
              <a:gd name="connsiteY46" fmla="*/ 707648 h 903922"/>
              <a:gd name="connsiteX47" fmla="*/ 5635517 w 7622651"/>
              <a:gd name="connsiteY47" fmla="*/ 748954 h 903922"/>
              <a:gd name="connsiteX48" fmla="*/ 5678643 w 7622651"/>
              <a:gd name="connsiteY48" fmla="*/ 779646 h 903922"/>
              <a:gd name="connsiteX49" fmla="*/ 5729590 w 7622651"/>
              <a:gd name="connsiteY49" fmla="*/ 798650 h 903922"/>
              <a:gd name="connsiteX50" fmla="*/ 5786575 w 7622651"/>
              <a:gd name="connsiteY50" fmla="*/ 805104 h 903922"/>
              <a:gd name="connsiteX51" fmla="*/ 5843560 w 7622651"/>
              <a:gd name="connsiteY51" fmla="*/ 798650 h 903922"/>
              <a:gd name="connsiteX52" fmla="*/ 5894816 w 7622651"/>
              <a:gd name="connsiteY52" fmla="*/ 779646 h 903922"/>
              <a:gd name="connsiteX53" fmla="*/ 5938252 w 7622651"/>
              <a:gd name="connsiteY53" fmla="*/ 748954 h 903922"/>
              <a:gd name="connsiteX54" fmla="*/ 5971700 w 7622651"/>
              <a:gd name="connsiteY54" fmla="*/ 707648 h 903922"/>
              <a:gd name="connsiteX55" fmla="*/ 5993147 w 7622651"/>
              <a:gd name="connsiteY55" fmla="*/ 656231 h 903922"/>
              <a:gd name="connsiteX56" fmla="*/ 6000657 w 7622651"/>
              <a:gd name="connsiteY56" fmla="*/ 595635 h 903922"/>
              <a:gd name="connsiteX57" fmla="*/ 5993147 w 7622651"/>
              <a:gd name="connsiteY57" fmla="*/ 535325 h 903922"/>
              <a:gd name="connsiteX58" fmla="*/ 5971700 w 7622651"/>
              <a:gd name="connsiteY58" fmla="*/ 484267 h 903922"/>
              <a:gd name="connsiteX59" fmla="*/ 5938252 w 7622651"/>
              <a:gd name="connsiteY59" fmla="*/ 442961 h 903922"/>
              <a:gd name="connsiteX60" fmla="*/ 5894816 w 7622651"/>
              <a:gd name="connsiteY60" fmla="*/ 412269 h 903922"/>
              <a:gd name="connsiteX61" fmla="*/ 5843870 w 7622651"/>
              <a:gd name="connsiteY61" fmla="*/ 392978 h 903922"/>
              <a:gd name="connsiteX62" fmla="*/ 5786575 w 7622651"/>
              <a:gd name="connsiteY62" fmla="*/ 386309 h 903922"/>
              <a:gd name="connsiteX63" fmla="*/ 7086709 w 7622651"/>
              <a:gd name="connsiteY63" fmla="*/ 304845 h 903922"/>
              <a:gd name="connsiteX64" fmla="*/ 7616611 w 7622651"/>
              <a:gd name="connsiteY64" fmla="*/ 304845 h 903922"/>
              <a:gd name="connsiteX65" fmla="*/ 7616611 w 7622651"/>
              <a:gd name="connsiteY65" fmla="*/ 397496 h 903922"/>
              <a:gd name="connsiteX66" fmla="*/ 7206100 w 7622651"/>
              <a:gd name="connsiteY66" fmla="*/ 790546 h 903922"/>
              <a:gd name="connsiteX67" fmla="*/ 7622651 w 7622651"/>
              <a:gd name="connsiteY67" fmla="*/ 790546 h 903922"/>
              <a:gd name="connsiteX68" fmla="*/ 7622651 w 7622651"/>
              <a:gd name="connsiteY68" fmla="*/ 886568 h 903922"/>
              <a:gd name="connsiteX69" fmla="*/ 7065649 w 7622651"/>
              <a:gd name="connsiteY69" fmla="*/ 886568 h 903922"/>
              <a:gd name="connsiteX70" fmla="*/ 7065649 w 7622651"/>
              <a:gd name="connsiteY70" fmla="*/ 793917 h 903922"/>
              <a:gd name="connsiteX71" fmla="*/ 7065572 w 7622651"/>
              <a:gd name="connsiteY71" fmla="*/ 793917 h 903922"/>
              <a:gd name="connsiteX72" fmla="*/ 7474923 w 7622651"/>
              <a:gd name="connsiteY72" fmla="*/ 400867 h 903922"/>
              <a:gd name="connsiteX73" fmla="*/ 7086709 w 7622651"/>
              <a:gd name="connsiteY73" fmla="*/ 400867 h 903922"/>
              <a:gd name="connsiteX74" fmla="*/ 4354661 w 7622651"/>
              <a:gd name="connsiteY74" fmla="*/ 304844 h 903922"/>
              <a:gd name="connsiteX75" fmla="*/ 4472194 w 7622651"/>
              <a:gd name="connsiteY75" fmla="*/ 304844 h 903922"/>
              <a:gd name="connsiteX76" fmla="*/ 4472194 w 7622651"/>
              <a:gd name="connsiteY76" fmla="*/ 886639 h 903922"/>
              <a:gd name="connsiteX77" fmla="*/ 4354661 w 7622651"/>
              <a:gd name="connsiteY77" fmla="*/ 886639 h 903922"/>
              <a:gd name="connsiteX78" fmla="*/ 6680534 w 7622651"/>
              <a:gd name="connsiteY78" fmla="*/ 289785 h 903922"/>
              <a:gd name="connsiteX79" fmla="*/ 6771587 w 7622651"/>
              <a:gd name="connsiteY79" fmla="*/ 306781 h 903922"/>
              <a:gd name="connsiteX80" fmla="*/ 6841812 w 7622651"/>
              <a:gd name="connsiteY80" fmla="*/ 355903 h 903922"/>
              <a:gd name="connsiteX81" fmla="*/ 6886409 w 7622651"/>
              <a:gd name="connsiteY81" fmla="*/ 434355 h 903922"/>
              <a:gd name="connsiteX82" fmla="*/ 6901817 w 7622651"/>
              <a:gd name="connsiteY82" fmla="*/ 538767 h 903922"/>
              <a:gd name="connsiteX83" fmla="*/ 6901817 w 7622651"/>
              <a:gd name="connsiteY83" fmla="*/ 886639 h 903922"/>
              <a:gd name="connsiteX84" fmla="*/ 6783665 w 7622651"/>
              <a:gd name="connsiteY84" fmla="*/ 886639 h 903922"/>
              <a:gd name="connsiteX85" fmla="*/ 6783665 w 7622651"/>
              <a:gd name="connsiteY85" fmla="*/ 563866 h 903922"/>
              <a:gd name="connsiteX86" fmla="*/ 6772825 w 7622651"/>
              <a:gd name="connsiteY86" fmla="*/ 487350 h 903922"/>
              <a:gd name="connsiteX87" fmla="*/ 6741468 w 7622651"/>
              <a:gd name="connsiteY87" fmla="*/ 431200 h 903922"/>
              <a:gd name="connsiteX88" fmla="*/ 6690832 w 7622651"/>
              <a:gd name="connsiteY88" fmla="*/ 397137 h 903922"/>
              <a:gd name="connsiteX89" fmla="*/ 6622077 w 7622651"/>
              <a:gd name="connsiteY89" fmla="*/ 385663 h 903922"/>
              <a:gd name="connsiteX90" fmla="*/ 6553323 w 7622651"/>
              <a:gd name="connsiteY90" fmla="*/ 397137 h 903922"/>
              <a:gd name="connsiteX91" fmla="*/ 6502687 w 7622651"/>
              <a:gd name="connsiteY91" fmla="*/ 431200 h 903922"/>
              <a:gd name="connsiteX92" fmla="*/ 6471329 w 7622651"/>
              <a:gd name="connsiteY92" fmla="*/ 487350 h 903922"/>
              <a:gd name="connsiteX93" fmla="*/ 6460489 w 7622651"/>
              <a:gd name="connsiteY93" fmla="*/ 563866 h 903922"/>
              <a:gd name="connsiteX94" fmla="*/ 6460489 w 7622651"/>
              <a:gd name="connsiteY94" fmla="*/ 886639 h 903922"/>
              <a:gd name="connsiteX95" fmla="*/ 6342957 w 7622651"/>
              <a:gd name="connsiteY95" fmla="*/ 886639 h 903922"/>
              <a:gd name="connsiteX96" fmla="*/ 6342957 w 7622651"/>
              <a:gd name="connsiteY96" fmla="*/ 304844 h 903922"/>
              <a:gd name="connsiteX97" fmla="*/ 6460489 w 7622651"/>
              <a:gd name="connsiteY97" fmla="*/ 304844 h 903922"/>
              <a:gd name="connsiteX98" fmla="*/ 6460489 w 7622651"/>
              <a:gd name="connsiteY98" fmla="*/ 444466 h 903922"/>
              <a:gd name="connsiteX99" fmla="*/ 6493318 w 7622651"/>
              <a:gd name="connsiteY99" fmla="*/ 375480 h 903922"/>
              <a:gd name="connsiteX100" fmla="*/ 6541244 w 7622651"/>
              <a:gd name="connsiteY100" fmla="*/ 327720 h 903922"/>
              <a:gd name="connsiteX101" fmla="*/ 6603650 w 7622651"/>
              <a:gd name="connsiteY101" fmla="*/ 299251 h 903922"/>
              <a:gd name="connsiteX102" fmla="*/ 6680534 w 7622651"/>
              <a:gd name="connsiteY102" fmla="*/ 289785 h 903922"/>
              <a:gd name="connsiteX103" fmla="*/ 5043209 w 7622651"/>
              <a:gd name="connsiteY103" fmla="*/ 289785 h 903922"/>
              <a:gd name="connsiteX104" fmla="*/ 5134262 w 7622651"/>
              <a:gd name="connsiteY104" fmla="*/ 306781 h 903922"/>
              <a:gd name="connsiteX105" fmla="*/ 5204487 w 7622651"/>
              <a:gd name="connsiteY105" fmla="*/ 355903 h 903922"/>
              <a:gd name="connsiteX106" fmla="*/ 5249085 w 7622651"/>
              <a:gd name="connsiteY106" fmla="*/ 434355 h 903922"/>
              <a:gd name="connsiteX107" fmla="*/ 5264493 w 7622651"/>
              <a:gd name="connsiteY107" fmla="*/ 538767 h 903922"/>
              <a:gd name="connsiteX108" fmla="*/ 5264493 w 7622651"/>
              <a:gd name="connsiteY108" fmla="*/ 886639 h 903922"/>
              <a:gd name="connsiteX109" fmla="*/ 5146341 w 7622651"/>
              <a:gd name="connsiteY109" fmla="*/ 886639 h 903922"/>
              <a:gd name="connsiteX110" fmla="*/ 5146341 w 7622651"/>
              <a:gd name="connsiteY110" fmla="*/ 563866 h 903922"/>
              <a:gd name="connsiteX111" fmla="*/ 5135501 w 7622651"/>
              <a:gd name="connsiteY111" fmla="*/ 487350 h 903922"/>
              <a:gd name="connsiteX112" fmla="*/ 5104144 w 7622651"/>
              <a:gd name="connsiteY112" fmla="*/ 431200 h 903922"/>
              <a:gd name="connsiteX113" fmla="*/ 5053507 w 7622651"/>
              <a:gd name="connsiteY113" fmla="*/ 397137 h 903922"/>
              <a:gd name="connsiteX114" fmla="*/ 4984753 w 7622651"/>
              <a:gd name="connsiteY114" fmla="*/ 385663 h 903922"/>
              <a:gd name="connsiteX115" fmla="*/ 4915999 w 7622651"/>
              <a:gd name="connsiteY115" fmla="*/ 397137 h 903922"/>
              <a:gd name="connsiteX116" fmla="*/ 4865362 w 7622651"/>
              <a:gd name="connsiteY116" fmla="*/ 431200 h 903922"/>
              <a:gd name="connsiteX117" fmla="*/ 4834005 w 7622651"/>
              <a:gd name="connsiteY117" fmla="*/ 487350 h 903922"/>
              <a:gd name="connsiteX118" fmla="*/ 4823166 w 7622651"/>
              <a:gd name="connsiteY118" fmla="*/ 563866 h 903922"/>
              <a:gd name="connsiteX119" fmla="*/ 4823166 w 7622651"/>
              <a:gd name="connsiteY119" fmla="*/ 886639 h 903922"/>
              <a:gd name="connsiteX120" fmla="*/ 4705633 w 7622651"/>
              <a:gd name="connsiteY120" fmla="*/ 886639 h 903922"/>
              <a:gd name="connsiteX121" fmla="*/ 4705633 w 7622651"/>
              <a:gd name="connsiteY121" fmla="*/ 304844 h 903922"/>
              <a:gd name="connsiteX122" fmla="*/ 4823166 w 7622651"/>
              <a:gd name="connsiteY122" fmla="*/ 304844 h 903922"/>
              <a:gd name="connsiteX123" fmla="*/ 4823166 w 7622651"/>
              <a:gd name="connsiteY123" fmla="*/ 444466 h 903922"/>
              <a:gd name="connsiteX124" fmla="*/ 4855994 w 7622651"/>
              <a:gd name="connsiteY124" fmla="*/ 375480 h 903922"/>
              <a:gd name="connsiteX125" fmla="*/ 4903921 w 7622651"/>
              <a:gd name="connsiteY125" fmla="*/ 327720 h 903922"/>
              <a:gd name="connsiteX126" fmla="*/ 4966326 w 7622651"/>
              <a:gd name="connsiteY126" fmla="*/ 299251 h 903922"/>
              <a:gd name="connsiteX127" fmla="*/ 5043209 w 7622651"/>
              <a:gd name="connsiteY127" fmla="*/ 289785 h 903922"/>
              <a:gd name="connsiteX128" fmla="*/ 5755837 w 7622651"/>
              <a:gd name="connsiteY128" fmla="*/ 289714 h 903922"/>
              <a:gd name="connsiteX129" fmla="*/ 5815532 w 7622651"/>
              <a:gd name="connsiteY129" fmla="*/ 296096 h 903922"/>
              <a:gd name="connsiteX130" fmla="*/ 5867098 w 7622651"/>
              <a:gd name="connsiteY130" fmla="*/ 314813 h 903922"/>
              <a:gd name="connsiteX131" fmla="*/ 5910534 w 7622651"/>
              <a:gd name="connsiteY131" fmla="*/ 344143 h 903922"/>
              <a:gd name="connsiteX132" fmla="*/ 5946072 w 7622651"/>
              <a:gd name="connsiteY132" fmla="*/ 381863 h 903922"/>
              <a:gd name="connsiteX133" fmla="*/ 5973480 w 7622651"/>
              <a:gd name="connsiteY133" fmla="*/ 425966 h 903922"/>
              <a:gd name="connsiteX134" fmla="*/ 5992218 w 7622651"/>
              <a:gd name="connsiteY134" fmla="*/ 474514 h 903922"/>
              <a:gd name="connsiteX135" fmla="*/ 5992218 w 7622651"/>
              <a:gd name="connsiteY135" fmla="*/ 304845 h 903922"/>
              <a:gd name="connsiteX136" fmla="*/ 6110370 w 7622651"/>
              <a:gd name="connsiteY136" fmla="*/ 304845 h 903922"/>
              <a:gd name="connsiteX137" fmla="*/ 6110370 w 7622651"/>
              <a:gd name="connsiteY137" fmla="*/ 886640 h 903922"/>
              <a:gd name="connsiteX138" fmla="*/ 5992218 w 7622651"/>
              <a:gd name="connsiteY138" fmla="*/ 886640 h 903922"/>
              <a:gd name="connsiteX139" fmla="*/ 5992218 w 7622651"/>
              <a:gd name="connsiteY139" fmla="*/ 717472 h 903922"/>
              <a:gd name="connsiteX140" fmla="*/ 5960550 w 7622651"/>
              <a:gd name="connsiteY140" fmla="*/ 788395 h 903922"/>
              <a:gd name="connsiteX141" fmla="*/ 5910534 w 7622651"/>
              <a:gd name="connsiteY141" fmla="*/ 847342 h 903922"/>
              <a:gd name="connsiteX142" fmla="*/ 5842399 w 7622651"/>
              <a:gd name="connsiteY142" fmla="*/ 887572 h 903922"/>
              <a:gd name="connsiteX143" fmla="*/ 5755914 w 7622651"/>
              <a:gd name="connsiteY143" fmla="*/ 902344 h 903922"/>
              <a:gd name="connsiteX144" fmla="*/ 5671443 w 7622651"/>
              <a:gd name="connsiteY144" fmla="*/ 891946 h 903922"/>
              <a:gd name="connsiteX145" fmla="*/ 5597578 w 7622651"/>
              <a:gd name="connsiteY145" fmla="*/ 862043 h 903922"/>
              <a:gd name="connsiteX146" fmla="*/ 5535792 w 7622651"/>
              <a:gd name="connsiteY146" fmla="*/ 815430 h 903922"/>
              <a:gd name="connsiteX147" fmla="*/ 5488485 w 7622651"/>
              <a:gd name="connsiteY147" fmla="*/ 754332 h 903922"/>
              <a:gd name="connsiteX148" fmla="*/ 5458677 w 7622651"/>
              <a:gd name="connsiteY148" fmla="*/ 680326 h 903922"/>
              <a:gd name="connsiteX149" fmla="*/ 5448456 w 7622651"/>
              <a:gd name="connsiteY149" fmla="*/ 595778 h 903922"/>
              <a:gd name="connsiteX150" fmla="*/ 5458677 w 7622651"/>
              <a:gd name="connsiteY150" fmla="*/ 511732 h 903922"/>
              <a:gd name="connsiteX151" fmla="*/ 5488485 w 7622651"/>
              <a:gd name="connsiteY151" fmla="*/ 437726 h 903922"/>
              <a:gd name="connsiteX152" fmla="*/ 5535792 w 7622651"/>
              <a:gd name="connsiteY152" fmla="*/ 376270 h 903922"/>
              <a:gd name="connsiteX153" fmla="*/ 5597578 w 7622651"/>
              <a:gd name="connsiteY153" fmla="*/ 329370 h 903922"/>
              <a:gd name="connsiteX154" fmla="*/ 5671443 w 7622651"/>
              <a:gd name="connsiteY154" fmla="*/ 299754 h 903922"/>
              <a:gd name="connsiteX155" fmla="*/ 5755837 w 7622651"/>
              <a:gd name="connsiteY155" fmla="*/ 289714 h 903922"/>
              <a:gd name="connsiteX156" fmla="*/ 3047481 w 7622651"/>
              <a:gd name="connsiteY156" fmla="*/ 285196 h 903922"/>
              <a:gd name="connsiteX157" fmla="*/ 3096336 w 7622651"/>
              <a:gd name="connsiteY157" fmla="*/ 290216 h 903922"/>
              <a:gd name="connsiteX158" fmla="*/ 3138533 w 7622651"/>
              <a:gd name="connsiteY158" fmla="*/ 303626 h 903922"/>
              <a:gd name="connsiteX159" fmla="*/ 3174691 w 7622651"/>
              <a:gd name="connsiteY159" fmla="*/ 324852 h 903922"/>
              <a:gd name="connsiteX160" fmla="*/ 3205430 w 7622651"/>
              <a:gd name="connsiteY160" fmla="*/ 351672 h 903922"/>
              <a:gd name="connsiteX161" fmla="*/ 3231367 w 7622651"/>
              <a:gd name="connsiteY161" fmla="*/ 382939 h 903922"/>
              <a:gd name="connsiteX162" fmla="*/ 3251885 w 7622651"/>
              <a:gd name="connsiteY162" fmla="*/ 417575 h 903922"/>
              <a:gd name="connsiteX163" fmla="*/ 3251885 w 7622651"/>
              <a:gd name="connsiteY163" fmla="*/ 303698 h 903922"/>
              <a:gd name="connsiteX164" fmla="*/ 3464729 w 7622651"/>
              <a:gd name="connsiteY164" fmla="*/ 303698 h 903922"/>
              <a:gd name="connsiteX165" fmla="*/ 3464729 w 7622651"/>
              <a:gd name="connsiteY165" fmla="*/ 885420 h 903922"/>
              <a:gd name="connsiteX166" fmla="*/ 3251885 w 7622651"/>
              <a:gd name="connsiteY166" fmla="*/ 885420 h 903922"/>
              <a:gd name="connsiteX167" fmla="*/ 3251885 w 7622651"/>
              <a:gd name="connsiteY167" fmla="*/ 771543 h 903922"/>
              <a:gd name="connsiteX168" fmla="*/ 3218747 w 7622651"/>
              <a:gd name="connsiteY168" fmla="*/ 822386 h 903922"/>
              <a:gd name="connsiteX169" fmla="*/ 3174769 w 7622651"/>
              <a:gd name="connsiteY169" fmla="*/ 864839 h 903922"/>
              <a:gd name="connsiteX170" fmla="*/ 3118093 w 7622651"/>
              <a:gd name="connsiteY170" fmla="*/ 893309 h 903922"/>
              <a:gd name="connsiteX171" fmla="*/ 3047558 w 7622651"/>
              <a:gd name="connsiteY171" fmla="*/ 903922 h 903922"/>
              <a:gd name="connsiteX172" fmla="*/ 2967887 w 7622651"/>
              <a:gd name="connsiteY172" fmla="*/ 893093 h 903922"/>
              <a:gd name="connsiteX173" fmla="*/ 2897352 w 7622651"/>
              <a:gd name="connsiteY173" fmla="*/ 862975 h 903922"/>
              <a:gd name="connsiteX174" fmla="*/ 2838276 w 7622651"/>
              <a:gd name="connsiteY174" fmla="*/ 816075 h 903922"/>
              <a:gd name="connsiteX175" fmla="*/ 2793060 w 7622651"/>
              <a:gd name="connsiteY175" fmla="*/ 754690 h 903922"/>
              <a:gd name="connsiteX176" fmla="*/ 2764102 w 7622651"/>
              <a:gd name="connsiteY176" fmla="*/ 679895 h 903922"/>
              <a:gd name="connsiteX177" fmla="*/ 2753882 w 7622651"/>
              <a:gd name="connsiteY177" fmla="*/ 594487 h 903922"/>
              <a:gd name="connsiteX178" fmla="*/ 2764102 w 7622651"/>
              <a:gd name="connsiteY178" fmla="*/ 509581 h 903922"/>
              <a:gd name="connsiteX179" fmla="*/ 2793060 w 7622651"/>
              <a:gd name="connsiteY179" fmla="*/ 434786 h 903922"/>
              <a:gd name="connsiteX180" fmla="*/ 2838276 w 7622651"/>
              <a:gd name="connsiteY180" fmla="*/ 372827 h 903922"/>
              <a:gd name="connsiteX181" fmla="*/ 2897352 w 7622651"/>
              <a:gd name="connsiteY181" fmla="*/ 325928 h 903922"/>
              <a:gd name="connsiteX182" fmla="*/ 2967887 w 7622651"/>
              <a:gd name="connsiteY182" fmla="*/ 295809 h 903922"/>
              <a:gd name="connsiteX183" fmla="*/ 3047481 w 7622651"/>
              <a:gd name="connsiteY183" fmla="*/ 285196 h 903922"/>
              <a:gd name="connsiteX184" fmla="*/ 832715 w 7622651"/>
              <a:gd name="connsiteY184" fmla="*/ 285196 h 903922"/>
              <a:gd name="connsiteX185" fmla="*/ 924387 w 7622651"/>
              <a:gd name="connsiteY185" fmla="*/ 301403 h 903922"/>
              <a:gd name="connsiteX186" fmla="*/ 991283 w 7622651"/>
              <a:gd name="connsiteY186" fmla="*/ 347728 h 903922"/>
              <a:gd name="connsiteX187" fmla="*/ 1032861 w 7622651"/>
              <a:gd name="connsiteY187" fmla="*/ 421448 h 903922"/>
              <a:gd name="connsiteX188" fmla="*/ 1047339 w 7622651"/>
              <a:gd name="connsiteY188" fmla="*/ 520840 h 903922"/>
              <a:gd name="connsiteX189" fmla="*/ 1047339 w 7622651"/>
              <a:gd name="connsiteY189" fmla="*/ 885420 h 903922"/>
              <a:gd name="connsiteX190" fmla="*/ 834496 w 7622651"/>
              <a:gd name="connsiteY190" fmla="*/ 885420 h 903922"/>
              <a:gd name="connsiteX191" fmla="*/ 834496 w 7622651"/>
              <a:gd name="connsiteY191" fmla="*/ 574408 h 903922"/>
              <a:gd name="connsiteX192" fmla="*/ 828456 w 7622651"/>
              <a:gd name="connsiteY192" fmla="*/ 520840 h 903922"/>
              <a:gd name="connsiteX193" fmla="*/ 810340 w 7622651"/>
              <a:gd name="connsiteY193" fmla="*/ 482904 h 903922"/>
              <a:gd name="connsiteX194" fmla="*/ 778362 w 7622651"/>
              <a:gd name="connsiteY194" fmla="*/ 459455 h 903922"/>
              <a:gd name="connsiteX195" fmla="*/ 732526 w 7622651"/>
              <a:gd name="connsiteY195" fmla="*/ 451638 h 903922"/>
              <a:gd name="connsiteX196" fmla="*/ 686690 w 7622651"/>
              <a:gd name="connsiteY196" fmla="*/ 459455 h 903922"/>
              <a:gd name="connsiteX197" fmla="*/ 654713 w 7622651"/>
              <a:gd name="connsiteY197" fmla="*/ 482904 h 903922"/>
              <a:gd name="connsiteX198" fmla="*/ 636673 w 7622651"/>
              <a:gd name="connsiteY198" fmla="*/ 520911 h 903922"/>
              <a:gd name="connsiteX199" fmla="*/ 630633 w 7622651"/>
              <a:gd name="connsiteY199" fmla="*/ 574480 h 903922"/>
              <a:gd name="connsiteX200" fmla="*/ 630633 w 7622651"/>
              <a:gd name="connsiteY200" fmla="*/ 885420 h 903922"/>
              <a:gd name="connsiteX201" fmla="*/ 417170 w 7622651"/>
              <a:gd name="connsiteY201" fmla="*/ 885420 h 903922"/>
              <a:gd name="connsiteX202" fmla="*/ 417170 w 7622651"/>
              <a:gd name="connsiteY202" fmla="*/ 574408 h 903922"/>
              <a:gd name="connsiteX203" fmla="*/ 411131 w 7622651"/>
              <a:gd name="connsiteY203" fmla="*/ 520840 h 903922"/>
              <a:gd name="connsiteX204" fmla="*/ 393091 w 7622651"/>
              <a:gd name="connsiteY204" fmla="*/ 482904 h 903922"/>
              <a:gd name="connsiteX205" fmla="*/ 361734 w 7622651"/>
              <a:gd name="connsiteY205" fmla="*/ 459455 h 903922"/>
              <a:gd name="connsiteX206" fmla="*/ 315279 w 7622651"/>
              <a:gd name="connsiteY206" fmla="*/ 451638 h 903922"/>
              <a:gd name="connsiteX207" fmla="*/ 269519 w 7622651"/>
              <a:gd name="connsiteY207" fmla="*/ 459455 h 903922"/>
              <a:gd name="connsiteX208" fmla="*/ 237542 w 7622651"/>
              <a:gd name="connsiteY208" fmla="*/ 482904 h 903922"/>
              <a:gd name="connsiteX209" fmla="*/ 219426 w 7622651"/>
              <a:gd name="connsiteY209" fmla="*/ 520911 h 903922"/>
              <a:gd name="connsiteX210" fmla="*/ 213386 w 7622651"/>
              <a:gd name="connsiteY210" fmla="*/ 574480 h 903922"/>
              <a:gd name="connsiteX211" fmla="*/ 213386 w 7622651"/>
              <a:gd name="connsiteY211" fmla="*/ 885492 h 903922"/>
              <a:gd name="connsiteX212" fmla="*/ 0 w 7622651"/>
              <a:gd name="connsiteY212" fmla="*/ 885492 h 903922"/>
              <a:gd name="connsiteX213" fmla="*/ 0 w 7622651"/>
              <a:gd name="connsiteY213" fmla="*/ 303698 h 903922"/>
              <a:gd name="connsiteX214" fmla="*/ 213463 w 7622651"/>
              <a:gd name="connsiteY214" fmla="*/ 303698 h 903922"/>
              <a:gd name="connsiteX215" fmla="*/ 213463 w 7622651"/>
              <a:gd name="connsiteY215" fmla="*/ 412555 h 903922"/>
              <a:gd name="connsiteX216" fmla="*/ 245362 w 7622651"/>
              <a:gd name="connsiteY216" fmla="*/ 360063 h 903922"/>
              <a:gd name="connsiteX217" fmla="*/ 289418 w 7622651"/>
              <a:gd name="connsiteY217" fmla="*/ 319833 h 903922"/>
              <a:gd name="connsiteX218" fmla="*/ 345474 w 7622651"/>
              <a:gd name="connsiteY218" fmla="*/ 294232 h 903922"/>
              <a:gd name="connsiteX219" fmla="*/ 415390 w 7622651"/>
              <a:gd name="connsiteY219" fmla="*/ 285268 h 903922"/>
              <a:gd name="connsiteX220" fmla="*/ 485925 w 7622651"/>
              <a:gd name="connsiteY220" fmla="*/ 294734 h 903922"/>
              <a:gd name="connsiteX221" fmla="*/ 543762 w 7622651"/>
              <a:gd name="connsiteY221" fmla="*/ 322629 h 903922"/>
              <a:gd name="connsiteX222" fmla="*/ 586656 w 7622651"/>
              <a:gd name="connsiteY222" fmla="*/ 366732 h 903922"/>
              <a:gd name="connsiteX223" fmla="*/ 613756 w 7622651"/>
              <a:gd name="connsiteY223" fmla="*/ 427041 h 903922"/>
              <a:gd name="connsiteX224" fmla="*/ 651074 w 7622651"/>
              <a:gd name="connsiteY224" fmla="*/ 366230 h 903922"/>
              <a:gd name="connsiteX225" fmla="*/ 701168 w 7622651"/>
              <a:gd name="connsiteY225" fmla="*/ 321554 h 903922"/>
              <a:gd name="connsiteX226" fmla="*/ 762180 w 7622651"/>
              <a:gd name="connsiteY226" fmla="*/ 294662 h 903922"/>
              <a:gd name="connsiteX227" fmla="*/ 832715 w 7622651"/>
              <a:gd name="connsiteY227" fmla="*/ 285196 h 903922"/>
              <a:gd name="connsiteX228" fmla="*/ 1587230 w 7622651"/>
              <a:gd name="connsiteY228" fmla="*/ 281969 h 903922"/>
              <a:gd name="connsiteX229" fmla="*/ 1689122 w 7622651"/>
              <a:gd name="connsiteY229" fmla="*/ 293730 h 903922"/>
              <a:gd name="connsiteX230" fmla="*/ 1775297 w 7622651"/>
              <a:gd name="connsiteY230" fmla="*/ 326645 h 903922"/>
              <a:gd name="connsiteX231" fmla="*/ 1844052 w 7622651"/>
              <a:gd name="connsiteY231" fmla="*/ 379138 h 903922"/>
              <a:gd name="connsiteX232" fmla="*/ 1892288 w 7622651"/>
              <a:gd name="connsiteY232" fmla="*/ 451136 h 903922"/>
              <a:gd name="connsiteX233" fmla="*/ 1918845 w 7622651"/>
              <a:gd name="connsiteY233" fmla="*/ 540489 h 903922"/>
              <a:gd name="connsiteX234" fmla="*/ 1921865 w 7622651"/>
              <a:gd name="connsiteY234" fmla="*/ 646550 h 903922"/>
              <a:gd name="connsiteX235" fmla="*/ 1453438 w 7622651"/>
              <a:gd name="connsiteY235" fmla="*/ 646550 h 903922"/>
              <a:gd name="connsiteX236" fmla="*/ 1464897 w 7622651"/>
              <a:gd name="connsiteY236" fmla="*/ 677242 h 903922"/>
              <a:gd name="connsiteX237" fmla="*/ 1484176 w 7622651"/>
              <a:gd name="connsiteY237" fmla="*/ 703489 h 903922"/>
              <a:gd name="connsiteX238" fmla="*/ 1510733 w 7622651"/>
              <a:gd name="connsiteY238" fmla="*/ 724715 h 903922"/>
              <a:gd name="connsiteX239" fmla="*/ 1543252 w 7622651"/>
              <a:gd name="connsiteY239" fmla="*/ 740922 h 903922"/>
              <a:gd name="connsiteX240" fmla="*/ 1580649 w 7622651"/>
              <a:gd name="connsiteY240" fmla="*/ 750388 h 903922"/>
              <a:gd name="connsiteX241" fmla="*/ 1622846 w 7622651"/>
              <a:gd name="connsiteY241" fmla="*/ 753758 h 903922"/>
              <a:gd name="connsiteX242" fmla="*/ 1672244 w 7622651"/>
              <a:gd name="connsiteY242" fmla="*/ 749814 h 903922"/>
              <a:gd name="connsiteX243" fmla="*/ 1720480 w 7622651"/>
              <a:gd name="connsiteY243" fmla="*/ 736404 h 903922"/>
              <a:gd name="connsiteX244" fmla="*/ 1767477 w 7622651"/>
              <a:gd name="connsiteY244" fmla="*/ 712381 h 903922"/>
              <a:gd name="connsiteX245" fmla="*/ 1810913 w 7622651"/>
              <a:gd name="connsiteY245" fmla="*/ 677744 h 903922"/>
              <a:gd name="connsiteX246" fmla="*/ 1910406 w 7622651"/>
              <a:gd name="connsiteY246" fmla="*/ 794419 h 903922"/>
              <a:gd name="connsiteX247" fmla="*/ 1844129 w 7622651"/>
              <a:gd name="connsiteY247" fmla="*/ 844115 h 903922"/>
              <a:gd name="connsiteX248" fmla="*/ 1771194 w 7622651"/>
              <a:gd name="connsiteY248" fmla="*/ 878177 h 903922"/>
              <a:gd name="connsiteX249" fmla="*/ 1691600 w 7622651"/>
              <a:gd name="connsiteY249" fmla="*/ 897755 h 903922"/>
              <a:gd name="connsiteX250" fmla="*/ 1605967 w 7622651"/>
              <a:gd name="connsiteY250" fmla="*/ 903922 h 903922"/>
              <a:gd name="connsiteX251" fmla="*/ 1501597 w 7622651"/>
              <a:gd name="connsiteY251" fmla="*/ 892735 h 903922"/>
              <a:gd name="connsiteX252" fmla="*/ 1412403 w 7622651"/>
              <a:gd name="connsiteY252" fmla="*/ 862616 h 903922"/>
              <a:gd name="connsiteX253" fmla="*/ 1340087 w 7622651"/>
              <a:gd name="connsiteY253" fmla="*/ 815143 h 903922"/>
              <a:gd name="connsiteX254" fmla="*/ 1285811 w 7622651"/>
              <a:gd name="connsiteY254" fmla="*/ 752611 h 903922"/>
              <a:gd name="connsiteX255" fmla="*/ 1252673 w 7622651"/>
              <a:gd name="connsiteY255" fmla="*/ 677816 h 903922"/>
              <a:gd name="connsiteX256" fmla="*/ 1241214 w 7622651"/>
              <a:gd name="connsiteY256" fmla="*/ 594057 h 903922"/>
              <a:gd name="connsiteX257" fmla="*/ 1252054 w 7622651"/>
              <a:gd name="connsiteY257" fmla="*/ 509724 h 903922"/>
              <a:gd name="connsiteX258" fmla="*/ 1284573 w 7622651"/>
              <a:gd name="connsiteY258" fmla="*/ 434929 h 903922"/>
              <a:gd name="connsiteX259" fmla="*/ 1335828 w 7622651"/>
              <a:gd name="connsiteY259" fmla="*/ 372397 h 903922"/>
              <a:gd name="connsiteX260" fmla="*/ 1404583 w 7622651"/>
              <a:gd name="connsiteY260" fmla="*/ 323848 h 903922"/>
              <a:gd name="connsiteX261" fmla="*/ 1488977 w 7622651"/>
              <a:gd name="connsiteY261" fmla="*/ 293156 h 903922"/>
              <a:gd name="connsiteX262" fmla="*/ 1587230 w 7622651"/>
              <a:gd name="connsiteY262" fmla="*/ 281969 h 903922"/>
              <a:gd name="connsiteX263" fmla="*/ 2189216 w 7622651"/>
              <a:gd name="connsiteY263" fmla="*/ 114379 h 903922"/>
              <a:gd name="connsiteX264" fmla="*/ 2402137 w 7622651"/>
              <a:gd name="connsiteY264" fmla="*/ 114379 h 903922"/>
              <a:gd name="connsiteX265" fmla="*/ 2402137 w 7622651"/>
              <a:gd name="connsiteY265" fmla="*/ 303697 h 903922"/>
              <a:gd name="connsiteX266" fmla="*/ 2590824 w 7622651"/>
              <a:gd name="connsiteY266" fmla="*/ 303697 h 903922"/>
              <a:gd name="connsiteX267" fmla="*/ 2590824 w 7622651"/>
              <a:gd name="connsiteY267" fmla="*/ 471215 h 903922"/>
              <a:gd name="connsiteX268" fmla="*/ 2402137 w 7622651"/>
              <a:gd name="connsiteY268" fmla="*/ 471215 h 903922"/>
              <a:gd name="connsiteX269" fmla="*/ 2402137 w 7622651"/>
              <a:gd name="connsiteY269" fmla="*/ 633067 h 903922"/>
              <a:gd name="connsiteX270" fmla="*/ 2409338 w 7622651"/>
              <a:gd name="connsiteY270" fmla="*/ 679393 h 903922"/>
              <a:gd name="connsiteX271" fmla="*/ 2431017 w 7622651"/>
              <a:gd name="connsiteY271" fmla="*/ 709010 h 903922"/>
              <a:gd name="connsiteX272" fmla="*/ 2465394 w 7622651"/>
              <a:gd name="connsiteY272" fmla="*/ 725217 h 903922"/>
              <a:gd name="connsiteX273" fmla="*/ 2512392 w 7622651"/>
              <a:gd name="connsiteY273" fmla="*/ 729663 h 903922"/>
              <a:gd name="connsiteX274" fmla="*/ 2534071 w 7622651"/>
              <a:gd name="connsiteY274" fmla="*/ 729089 h 903922"/>
              <a:gd name="connsiteX275" fmla="*/ 2554589 w 7622651"/>
              <a:gd name="connsiteY275" fmla="*/ 727440 h 903922"/>
              <a:gd name="connsiteX276" fmla="*/ 2573868 w 7622651"/>
              <a:gd name="connsiteY276" fmla="*/ 725217 h 903922"/>
              <a:gd name="connsiteX277" fmla="*/ 2590127 w 7622651"/>
              <a:gd name="connsiteY277" fmla="*/ 721846 h 903922"/>
              <a:gd name="connsiteX278" fmla="*/ 2590127 w 7622651"/>
              <a:gd name="connsiteY278" fmla="*/ 879324 h 903922"/>
              <a:gd name="connsiteX279" fmla="*/ 2553969 w 7622651"/>
              <a:gd name="connsiteY279" fmla="*/ 885994 h 903922"/>
              <a:gd name="connsiteX280" fmla="*/ 2518973 w 7622651"/>
              <a:gd name="connsiteY280" fmla="*/ 891013 h 903922"/>
              <a:gd name="connsiteX281" fmla="*/ 2484596 w 7622651"/>
              <a:gd name="connsiteY281" fmla="*/ 894384 h 903922"/>
              <a:gd name="connsiteX282" fmla="*/ 2450838 w 7622651"/>
              <a:gd name="connsiteY282" fmla="*/ 895531 h 903922"/>
              <a:gd name="connsiteX283" fmla="*/ 2345384 w 7622651"/>
              <a:gd name="connsiteY283" fmla="*/ 883770 h 903922"/>
              <a:gd name="connsiteX284" fmla="*/ 2262771 w 7622651"/>
              <a:gd name="connsiteY284" fmla="*/ 845835 h 903922"/>
              <a:gd name="connsiteX285" fmla="*/ 2208495 w 7622651"/>
              <a:gd name="connsiteY285" fmla="*/ 776060 h 903922"/>
              <a:gd name="connsiteX286" fmla="*/ 2189216 w 7622651"/>
              <a:gd name="connsiteY286" fmla="*/ 669425 h 903922"/>
              <a:gd name="connsiteX287" fmla="*/ 2189216 w 7622651"/>
              <a:gd name="connsiteY287" fmla="*/ 471215 h 903922"/>
              <a:gd name="connsiteX288" fmla="*/ 2062625 w 7622651"/>
              <a:gd name="connsiteY288" fmla="*/ 471215 h 903922"/>
              <a:gd name="connsiteX289" fmla="*/ 2062625 w 7622651"/>
              <a:gd name="connsiteY289" fmla="*/ 303697 h 903922"/>
              <a:gd name="connsiteX290" fmla="*/ 2189216 w 7622651"/>
              <a:gd name="connsiteY290" fmla="*/ 303697 h 903922"/>
              <a:gd name="connsiteX291" fmla="*/ 4413737 w 7622651"/>
              <a:gd name="connsiteY291" fmla="*/ 27895 h 903922"/>
              <a:gd name="connsiteX292" fmla="*/ 4445714 w 7622651"/>
              <a:gd name="connsiteY292" fmla="*/ 33202 h 903922"/>
              <a:gd name="connsiteX293" fmla="*/ 4470723 w 7622651"/>
              <a:gd name="connsiteY293" fmla="*/ 47974 h 903922"/>
              <a:gd name="connsiteX294" fmla="*/ 4487292 w 7622651"/>
              <a:gd name="connsiteY294" fmla="*/ 70850 h 903922"/>
              <a:gd name="connsiteX295" fmla="*/ 4493331 w 7622651"/>
              <a:gd name="connsiteY295" fmla="*/ 101041 h 903922"/>
              <a:gd name="connsiteX296" fmla="*/ 4487292 w 7622651"/>
              <a:gd name="connsiteY296" fmla="*/ 130371 h 903922"/>
              <a:gd name="connsiteX297" fmla="*/ 4470723 w 7622651"/>
              <a:gd name="connsiteY297" fmla="*/ 153247 h 903922"/>
              <a:gd name="connsiteX298" fmla="*/ 4445714 w 7622651"/>
              <a:gd name="connsiteY298" fmla="*/ 168019 h 903922"/>
              <a:gd name="connsiteX299" fmla="*/ 4413737 w 7622651"/>
              <a:gd name="connsiteY299" fmla="*/ 173039 h 903922"/>
              <a:gd name="connsiteX300" fmla="*/ 4381451 w 7622651"/>
              <a:gd name="connsiteY300" fmla="*/ 168019 h 903922"/>
              <a:gd name="connsiteX301" fmla="*/ 4356132 w 7622651"/>
              <a:gd name="connsiteY301" fmla="*/ 153247 h 903922"/>
              <a:gd name="connsiteX302" fmla="*/ 4339563 w 7622651"/>
              <a:gd name="connsiteY302" fmla="*/ 130371 h 903922"/>
              <a:gd name="connsiteX303" fmla="*/ 4333524 w 7622651"/>
              <a:gd name="connsiteY303" fmla="*/ 101041 h 903922"/>
              <a:gd name="connsiteX304" fmla="*/ 4339563 w 7622651"/>
              <a:gd name="connsiteY304" fmla="*/ 70850 h 903922"/>
              <a:gd name="connsiteX305" fmla="*/ 4356132 w 7622651"/>
              <a:gd name="connsiteY305" fmla="*/ 47974 h 903922"/>
              <a:gd name="connsiteX306" fmla="*/ 4381451 w 7622651"/>
              <a:gd name="connsiteY306" fmla="*/ 33202 h 903922"/>
              <a:gd name="connsiteX307" fmla="*/ 4413737 w 7622651"/>
              <a:gd name="connsiteY307" fmla="*/ 27895 h 903922"/>
              <a:gd name="connsiteX308" fmla="*/ 4098150 w 7622651"/>
              <a:gd name="connsiteY308" fmla="*/ 0 h 903922"/>
              <a:gd name="connsiteX309" fmla="*/ 4143986 w 7622651"/>
              <a:gd name="connsiteY309" fmla="*/ 1649 h 903922"/>
              <a:gd name="connsiteX310" fmla="*/ 4188583 w 7622651"/>
              <a:gd name="connsiteY310" fmla="*/ 6095 h 903922"/>
              <a:gd name="connsiteX311" fmla="*/ 4188583 w 7622651"/>
              <a:gd name="connsiteY311" fmla="*/ 101041 h 903922"/>
              <a:gd name="connsiteX312" fmla="*/ 4166285 w 7622651"/>
              <a:gd name="connsiteY312" fmla="*/ 97671 h 903922"/>
              <a:gd name="connsiteX313" fmla="*/ 4143366 w 7622651"/>
              <a:gd name="connsiteY313" fmla="*/ 95735 h 903922"/>
              <a:gd name="connsiteX314" fmla="*/ 4120758 w 7622651"/>
              <a:gd name="connsiteY314" fmla="*/ 94659 h 903922"/>
              <a:gd name="connsiteX315" fmla="*/ 4098769 w 7622651"/>
              <a:gd name="connsiteY315" fmla="*/ 94372 h 903922"/>
              <a:gd name="connsiteX316" fmla="*/ 4061373 w 7622651"/>
              <a:gd name="connsiteY316" fmla="*/ 96595 h 903922"/>
              <a:gd name="connsiteX317" fmla="*/ 4027615 w 7622651"/>
              <a:gd name="connsiteY317" fmla="*/ 103551 h 903922"/>
              <a:gd name="connsiteX318" fmla="*/ 3998967 w 7622651"/>
              <a:gd name="connsiteY318" fmla="*/ 117248 h 903922"/>
              <a:gd name="connsiteX319" fmla="*/ 3976978 w 7622651"/>
              <a:gd name="connsiteY319" fmla="*/ 139048 h 903922"/>
              <a:gd name="connsiteX320" fmla="*/ 3962500 w 7622651"/>
              <a:gd name="connsiteY320" fmla="*/ 169741 h 903922"/>
              <a:gd name="connsiteX321" fmla="*/ 3957080 w 7622651"/>
              <a:gd name="connsiteY321" fmla="*/ 212194 h 903922"/>
              <a:gd name="connsiteX322" fmla="*/ 3957080 w 7622651"/>
              <a:gd name="connsiteY322" fmla="*/ 304917 h 903922"/>
              <a:gd name="connsiteX323" fmla="*/ 4188583 w 7622651"/>
              <a:gd name="connsiteY323" fmla="*/ 304917 h 903922"/>
              <a:gd name="connsiteX324" fmla="*/ 4188583 w 7622651"/>
              <a:gd name="connsiteY324" fmla="*/ 400938 h 903922"/>
              <a:gd name="connsiteX325" fmla="*/ 3957080 w 7622651"/>
              <a:gd name="connsiteY325" fmla="*/ 400938 h 903922"/>
              <a:gd name="connsiteX326" fmla="*/ 3957080 w 7622651"/>
              <a:gd name="connsiteY326" fmla="*/ 886711 h 903922"/>
              <a:gd name="connsiteX327" fmla="*/ 3839547 w 7622651"/>
              <a:gd name="connsiteY327" fmla="*/ 886711 h 903922"/>
              <a:gd name="connsiteX328" fmla="*/ 3839547 w 7622651"/>
              <a:gd name="connsiteY328" fmla="*/ 400867 h 903922"/>
              <a:gd name="connsiteX329" fmla="*/ 3695458 w 7622651"/>
              <a:gd name="connsiteY329" fmla="*/ 400867 h 903922"/>
              <a:gd name="connsiteX330" fmla="*/ 3695458 w 7622651"/>
              <a:gd name="connsiteY330" fmla="*/ 304845 h 903922"/>
              <a:gd name="connsiteX331" fmla="*/ 3839547 w 7622651"/>
              <a:gd name="connsiteY331" fmla="*/ 304845 h 903922"/>
              <a:gd name="connsiteX332" fmla="*/ 3839547 w 7622651"/>
              <a:gd name="connsiteY332" fmla="*/ 209899 h 903922"/>
              <a:gd name="connsiteX333" fmla="*/ 3849226 w 7622651"/>
              <a:gd name="connsiteY333" fmla="*/ 138475 h 903922"/>
              <a:gd name="connsiteX334" fmla="*/ 3876634 w 7622651"/>
              <a:gd name="connsiteY334" fmla="*/ 84046 h 903922"/>
              <a:gd name="connsiteX335" fmla="*/ 3918522 w 7622651"/>
              <a:gd name="connsiteY335" fmla="*/ 44676 h 903922"/>
              <a:gd name="connsiteX336" fmla="*/ 3971249 w 7622651"/>
              <a:gd name="connsiteY336" fmla="*/ 18717 h 903922"/>
              <a:gd name="connsiteX337" fmla="*/ 4032105 w 7622651"/>
              <a:gd name="connsiteY337" fmla="*/ 4446 h 903922"/>
              <a:gd name="connsiteX338" fmla="*/ 4098150 w 7622651"/>
              <a:gd name="connsiteY338" fmla="*/ 0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7622651" h="903922">
                <a:moveTo>
                  <a:pt x="3119409" y="453933"/>
                </a:moveTo>
                <a:cubicBezTo>
                  <a:pt x="3105782" y="453933"/>
                  <a:pt x="3092465" y="455367"/>
                  <a:pt x="3079613" y="458379"/>
                </a:cubicBezTo>
                <a:cubicBezTo>
                  <a:pt x="3067147" y="460961"/>
                  <a:pt x="3055456" y="465263"/>
                  <a:pt x="3044616" y="471215"/>
                </a:cubicBezTo>
                <a:cubicBezTo>
                  <a:pt x="3034163" y="476809"/>
                  <a:pt x="3024485" y="483693"/>
                  <a:pt x="3015659" y="491868"/>
                </a:cubicBezTo>
                <a:cubicBezTo>
                  <a:pt x="3006832" y="500043"/>
                  <a:pt x="2999167" y="509366"/>
                  <a:pt x="2992741" y="519764"/>
                </a:cubicBezTo>
                <a:cubicBezTo>
                  <a:pt x="2986701" y="530162"/>
                  <a:pt x="2981901" y="541708"/>
                  <a:pt x="2978262" y="554401"/>
                </a:cubicBezTo>
                <a:cubicBezTo>
                  <a:pt x="2975087" y="566735"/>
                  <a:pt x="2973462" y="580145"/>
                  <a:pt x="2973462" y="594631"/>
                </a:cubicBezTo>
                <a:cubicBezTo>
                  <a:pt x="2973462" y="609116"/>
                  <a:pt x="2975087" y="622741"/>
                  <a:pt x="2978262" y="635363"/>
                </a:cubicBezTo>
                <a:cubicBezTo>
                  <a:pt x="2981901" y="647625"/>
                  <a:pt x="2986701" y="658956"/>
                  <a:pt x="2992663" y="669354"/>
                </a:cubicBezTo>
                <a:cubicBezTo>
                  <a:pt x="2999090" y="679752"/>
                  <a:pt x="3006755" y="689075"/>
                  <a:pt x="3015581" y="697250"/>
                </a:cubicBezTo>
                <a:cubicBezTo>
                  <a:pt x="3024485" y="705425"/>
                  <a:pt x="3034086" y="712524"/>
                  <a:pt x="3044539" y="718476"/>
                </a:cubicBezTo>
                <a:cubicBezTo>
                  <a:pt x="3055456" y="724070"/>
                  <a:pt x="3067069" y="728301"/>
                  <a:pt x="3079535" y="731313"/>
                </a:cubicBezTo>
                <a:cubicBezTo>
                  <a:pt x="3092388" y="733966"/>
                  <a:pt x="3105705" y="735257"/>
                  <a:pt x="3119332" y="735257"/>
                </a:cubicBezTo>
                <a:cubicBezTo>
                  <a:pt x="3133036" y="735257"/>
                  <a:pt x="3146044" y="733966"/>
                  <a:pt x="3158587" y="731384"/>
                </a:cubicBezTo>
                <a:cubicBezTo>
                  <a:pt x="3171440" y="728444"/>
                  <a:pt x="3183286" y="724141"/>
                  <a:pt x="3194125" y="718548"/>
                </a:cubicBezTo>
                <a:cubicBezTo>
                  <a:pt x="3205042" y="712596"/>
                  <a:pt x="3214875" y="705496"/>
                  <a:pt x="3223702" y="697321"/>
                </a:cubicBezTo>
                <a:cubicBezTo>
                  <a:pt x="3232528" y="689146"/>
                  <a:pt x="3239961" y="679824"/>
                  <a:pt x="3246001" y="669426"/>
                </a:cubicBezTo>
                <a:cubicBezTo>
                  <a:pt x="3252040" y="659027"/>
                  <a:pt x="3256685" y="647625"/>
                  <a:pt x="3259860" y="635363"/>
                </a:cubicBezTo>
                <a:cubicBezTo>
                  <a:pt x="3263499" y="622741"/>
                  <a:pt x="3265280" y="609116"/>
                  <a:pt x="3265280" y="594631"/>
                </a:cubicBezTo>
                <a:cubicBezTo>
                  <a:pt x="3265280" y="580073"/>
                  <a:pt x="3263499" y="566663"/>
                  <a:pt x="3259860" y="554401"/>
                </a:cubicBezTo>
                <a:cubicBezTo>
                  <a:pt x="3256685" y="541708"/>
                  <a:pt x="3252040" y="530162"/>
                  <a:pt x="3246001" y="519764"/>
                </a:cubicBezTo>
                <a:cubicBezTo>
                  <a:pt x="3239961" y="509366"/>
                  <a:pt x="3232528" y="500043"/>
                  <a:pt x="3223702" y="491868"/>
                </a:cubicBezTo>
                <a:cubicBezTo>
                  <a:pt x="3214798" y="483693"/>
                  <a:pt x="3204965" y="476809"/>
                  <a:pt x="3194125" y="471215"/>
                </a:cubicBezTo>
                <a:cubicBezTo>
                  <a:pt x="3183286" y="465263"/>
                  <a:pt x="3171440" y="460961"/>
                  <a:pt x="3158587" y="458379"/>
                </a:cubicBezTo>
                <a:cubicBezTo>
                  <a:pt x="3146121" y="455439"/>
                  <a:pt x="3133114" y="453933"/>
                  <a:pt x="3119409" y="453933"/>
                </a:cubicBezTo>
                <a:close/>
                <a:moveTo>
                  <a:pt x="1585372" y="414277"/>
                </a:moveTo>
                <a:cubicBezTo>
                  <a:pt x="1572906" y="414277"/>
                  <a:pt x="1561060" y="415424"/>
                  <a:pt x="1549833" y="417647"/>
                </a:cubicBezTo>
                <a:cubicBezTo>
                  <a:pt x="1538529" y="419511"/>
                  <a:pt x="1527922" y="422523"/>
                  <a:pt x="1517856" y="426611"/>
                </a:cubicBezTo>
                <a:cubicBezTo>
                  <a:pt x="1507791" y="430268"/>
                  <a:pt x="1498578" y="435145"/>
                  <a:pt x="1490138" y="441097"/>
                </a:cubicBezTo>
                <a:cubicBezTo>
                  <a:pt x="1482086" y="447049"/>
                  <a:pt x="1474885" y="453718"/>
                  <a:pt x="1468459" y="461176"/>
                </a:cubicBezTo>
                <a:cubicBezTo>
                  <a:pt x="1462033" y="468634"/>
                  <a:pt x="1456613" y="477167"/>
                  <a:pt x="1452199" y="486848"/>
                </a:cubicBezTo>
                <a:cubicBezTo>
                  <a:pt x="1448173" y="496171"/>
                  <a:pt x="1445386" y="506354"/>
                  <a:pt x="1443760" y="517541"/>
                </a:cubicBezTo>
                <a:lnTo>
                  <a:pt x="1443760" y="517613"/>
                </a:lnTo>
                <a:lnTo>
                  <a:pt x="1725822" y="517613"/>
                </a:lnTo>
                <a:cubicBezTo>
                  <a:pt x="1723035" y="501262"/>
                  <a:pt x="1717615" y="486562"/>
                  <a:pt x="1709563" y="473510"/>
                </a:cubicBezTo>
                <a:cubicBezTo>
                  <a:pt x="1701511" y="460459"/>
                  <a:pt x="1691290" y="449630"/>
                  <a:pt x="1678825" y="441097"/>
                </a:cubicBezTo>
                <a:cubicBezTo>
                  <a:pt x="1666746" y="432491"/>
                  <a:pt x="1652732" y="425965"/>
                  <a:pt x="1636628" y="421519"/>
                </a:cubicBezTo>
                <a:cubicBezTo>
                  <a:pt x="1620910" y="416715"/>
                  <a:pt x="1603877" y="414277"/>
                  <a:pt x="1585372" y="414277"/>
                </a:cubicBezTo>
                <a:close/>
                <a:moveTo>
                  <a:pt x="5786575" y="386309"/>
                </a:moveTo>
                <a:cubicBezTo>
                  <a:pt x="5766908" y="386309"/>
                  <a:pt x="5747862" y="388532"/>
                  <a:pt x="5729590" y="392978"/>
                </a:cubicBezTo>
                <a:cubicBezTo>
                  <a:pt x="5711317" y="397424"/>
                  <a:pt x="5694283" y="403879"/>
                  <a:pt x="5678643" y="412269"/>
                </a:cubicBezTo>
                <a:cubicBezTo>
                  <a:pt x="5663003" y="420659"/>
                  <a:pt x="5648602" y="430842"/>
                  <a:pt x="5635517" y="442961"/>
                </a:cubicBezTo>
                <a:cubicBezTo>
                  <a:pt x="5622432" y="455080"/>
                  <a:pt x="5611283" y="468849"/>
                  <a:pt x="5602069" y="484267"/>
                </a:cubicBezTo>
                <a:cubicBezTo>
                  <a:pt x="5592778" y="499757"/>
                  <a:pt x="5585655" y="516752"/>
                  <a:pt x="5580699" y="535325"/>
                </a:cubicBezTo>
                <a:cubicBezTo>
                  <a:pt x="5575667" y="553970"/>
                  <a:pt x="5573189" y="574050"/>
                  <a:pt x="5573189" y="595635"/>
                </a:cubicBezTo>
                <a:cubicBezTo>
                  <a:pt x="5573189" y="617220"/>
                  <a:pt x="5575667" y="637442"/>
                  <a:pt x="5580699" y="656231"/>
                </a:cubicBezTo>
                <a:cubicBezTo>
                  <a:pt x="5585732" y="675019"/>
                  <a:pt x="5592856" y="692158"/>
                  <a:pt x="5602069" y="707648"/>
                </a:cubicBezTo>
                <a:cubicBezTo>
                  <a:pt x="5611283" y="723066"/>
                  <a:pt x="5622509" y="736835"/>
                  <a:pt x="5635517" y="748954"/>
                </a:cubicBezTo>
                <a:cubicBezTo>
                  <a:pt x="5648524" y="761073"/>
                  <a:pt x="5662926" y="771256"/>
                  <a:pt x="5678643" y="779646"/>
                </a:cubicBezTo>
                <a:cubicBezTo>
                  <a:pt x="5694283" y="788036"/>
                  <a:pt x="5711317" y="794347"/>
                  <a:pt x="5729590" y="798650"/>
                </a:cubicBezTo>
                <a:cubicBezTo>
                  <a:pt x="5747862" y="802952"/>
                  <a:pt x="5766831" y="805104"/>
                  <a:pt x="5786575" y="805104"/>
                </a:cubicBezTo>
                <a:cubicBezTo>
                  <a:pt x="5806241" y="805104"/>
                  <a:pt x="5825210" y="802952"/>
                  <a:pt x="5843560" y="798650"/>
                </a:cubicBezTo>
                <a:cubicBezTo>
                  <a:pt x="5861833" y="794419"/>
                  <a:pt x="5878944" y="788036"/>
                  <a:pt x="5894816" y="779646"/>
                </a:cubicBezTo>
                <a:cubicBezTo>
                  <a:pt x="5910688" y="771256"/>
                  <a:pt x="5925167" y="761073"/>
                  <a:pt x="5938252" y="748954"/>
                </a:cubicBezTo>
                <a:cubicBezTo>
                  <a:pt x="5951260" y="736835"/>
                  <a:pt x="5962486" y="723066"/>
                  <a:pt x="5971700" y="707648"/>
                </a:cubicBezTo>
                <a:cubicBezTo>
                  <a:pt x="5980991" y="692158"/>
                  <a:pt x="5988037" y="675091"/>
                  <a:pt x="5993147" y="656231"/>
                </a:cubicBezTo>
                <a:cubicBezTo>
                  <a:pt x="5998179" y="637442"/>
                  <a:pt x="6000657" y="617220"/>
                  <a:pt x="6000657" y="595635"/>
                </a:cubicBezTo>
                <a:cubicBezTo>
                  <a:pt x="6000657" y="574050"/>
                  <a:pt x="5998179" y="553970"/>
                  <a:pt x="5993147" y="535325"/>
                </a:cubicBezTo>
                <a:cubicBezTo>
                  <a:pt x="5988114" y="516752"/>
                  <a:pt x="5980991" y="499685"/>
                  <a:pt x="5971700" y="484267"/>
                </a:cubicBezTo>
                <a:cubicBezTo>
                  <a:pt x="5962486" y="468849"/>
                  <a:pt x="5951260" y="455080"/>
                  <a:pt x="5938252" y="442961"/>
                </a:cubicBezTo>
                <a:cubicBezTo>
                  <a:pt x="5925167" y="430842"/>
                  <a:pt x="5910688" y="420659"/>
                  <a:pt x="5894816" y="412269"/>
                </a:cubicBezTo>
                <a:cubicBezTo>
                  <a:pt x="5878944" y="403879"/>
                  <a:pt x="5861988" y="397496"/>
                  <a:pt x="5843870" y="392978"/>
                </a:cubicBezTo>
                <a:cubicBezTo>
                  <a:pt x="5825752" y="388532"/>
                  <a:pt x="5806705" y="386309"/>
                  <a:pt x="5786575" y="386309"/>
                </a:cubicBezTo>
                <a:close/>
                <a:moveTo>
                  <a:pt x="7086709" y="304845"/>
                </a:moveTo>
                <a:lnTo>
                  <a:pt x="7616611" y="304845"/>
                </a:lnTo>
                <a:lnTo>
                  <a:pt x="7616611" y="397496"/>
                </a:lnTo>
                <a:lnTo>
                  <a:pt x="7206100" y="790546"/>
                </a:lnTo>
                <a:lnTo>
                  <a:pt x="7622651" y="790546"/>
                </a:lnTo>
                <a:lnTo>
                  <a:pt x="7622651" y="886568"/>
                </a:lnTo>
                <a:lnTo>
                  <a:pt x="7065649" y="886568"/>
                </a:lnTo>
                <a:lnTo>
                  <a:pt x="7065649" y="793917"/>
                </a:lnTo>
                <a:lnTo>
                  <a:pt x="7065572" y="793917"/>
                </a:lnTo>
                <a:lnTo>
                  <a:pt x="7474923" y="400867"/>
                </a:lnTo>
                <a:lnTo>
                  <a:pt x="7086709" y="400867"/>
                </a:lnTo>
                <a:close/>
                <a:moveTo>
                  <a:pt x="4354661" y="304844"/>
                </a:moveTo>
                <a:lnTo>
                  <a:pt x="4472194" y="304844"/>
                </a:lnTo>
                <a:lnTo>
                  <a:pt x="4472194" y="886639"/>
                </a:lnTo>
                <a:lnTo>
                  <a:pt x="4354661" y="886639"/>
                </a:lnTo>
                <a:close/>
                <a:moveTo>
                  <a:pt x="6680534" y="289785"/>
                </a:moveTo>
                <a:cubicBezTo>
                  <a:pt x="6713904" y="289785"/>
                  <a:pt x="6744255" y="295450"/>
                  <a:pt x="6771587" y="306781"/>
                </a:cubicBezTo>
                <a:cubicBezTo>
                  <a:pt x="6798918" y="318111"/>
                  <a:pt x="6822300" y="334533"/>
                  <a:pt x="6841812" y="355903"/>
                </a:cubicBezTo>
                <a:cubicBezTo>
                  <a:pt x="6861323" y="377273"/>
                  <a:pt x="6876189" y="403448"/>
                  <a:pt x="6886409" y="434355"/>
                </a:cubicBezTo>
                <a:cubicBezTo>
                  <a:pt x="6896629" y="465263"/>
                  <a:pt x="6901817" y="500043"/>
                  <a:pt x="6901817" y="538767"/>
                </a:cubicBezTo>
                <a:lnTo>
                  <a:pt x="6901817" y="886639"/>
                </a:lnTo>
                <a:lnTo>
                  <a:pt x="6783665" y="886639"/>
                </a:lnTo>
                <a:lnTo>
                  <a:pt x="6783665" y="563866"/>
                </a:lnTo>
                <a:cubicBezTo>
                  <a:pt x="6783665" y="535253"/>
                  <a:pt x="6780026" y="509724"/>
                  <a:pt x="6772825" y="487350"/>
                </a:cubicBezTo>
                <a:cubicBezTo>
                  <a:pt x="6765547" y="465048"/>
                  <a:pt x="6755095" y="446331"/>
                  <a:pt x="6741468" y="431200"/>
                </a:cubicBezTo>
                <a:cubicBezTo>
                  <a:pt x="6727763" y="416140"/>
                  <a:pt x="6710884" y="404810"/>
                  <a:pt x="6690832" y="397137"/>
                </a:cubicBezTo>
                <a:cubicBezTo>
                  <a:pt x="6670701" y="389536"/>
                  <a:pt x="6647783" y="385663"/>
                  <a:pt x="6622077" y="385663"/>
                </a:cubicBezTo>
                <a:cubicBezTo>
                  <a:pt x="6596295" y="385663"/>
                  <a:pt x="6573453" y="389464"/>
                  <a:pt x="6553323" y="397137"/>
                </a:cubicBezTo>
                <a:cubicBezTo>
                  <a:pt x="6533270" y="404738"/>
                  <a:pt x="6516313" y="416140"/>
                  <a:pt x="6502687" y="431200"/>
                </a:cubicBezTo>
                <a:cubicBezTo>
                  <a:pt x="6488982" y="446259"/>
                  <a:pt x="6478607" y="464976"/>
                  <a:pt x="6471329" y="487350"/>
                </a:cubicBezTo>
                <a:cubicBezTo>
                  <a:pt x="6464051" y="509652"/>
                  <a:pt x="6460489" y="535181"/>
                  <a:pt x="6460489" y="563866"/>
                </a:cubicBezTo>
                <a:lnTo>
                  <a:pt x="6460489" y="886639"/>
                </a:lnTo>
                <a:lnTo>
                  <a:pt x="6342957" y="886639"/>
                </a:lnTo>
                <a:lnTo>
                  <a:pt x="6342957" y="304844"/>
                </a:lnTo>
                <a:lnTo>
                  <a:pt x="6460489" y="304844"/>
                </a:lnTo>
                <a:lnTo>
                  <a:pt x="6460489" y="444466"/>
                </a:lnTo>
                <a:cubicBezTo>
                  <a:pt x="6468929" y="417646"/>
                  <a:pt x="6479846" y="394699"/>
                  <a:pt x="6493318" y="375480"/>
                </a:cubicBezTo>
                <a:cubicBezTo>
                  <a:pt x="6506790" y="356333"/>
                  <a:pt x="6522740" y="340413"/>
                  <a:pt x="6541244" y="327720"/>
                </a:cubicBezTo>
                <a:cubicBezTo>
                  <a:pt x="6559750" y="315099"/>
                  <a:pt x="6580500" y="305561"/>
                  <a:pt x="6603650" y="299251"/>
                </a:cubicBezTo>
                <a:cubicBezTo>
                  <a:pt x="6626800" y="292940"/>
                  <a:pt x="6652351" y="289785"/>
                  <a:pt x="6680534" y="289785"/>
                </a:cubicBezTo>
                <a:close/>
                <a:moveTo>
                  <a:pt x="5043209" y="289785"/>
                </a:moveTo>
                <a:cubicBezTo>
                  <a:pt x="5076580" y="289785"/>
                  <a:pt x="5106931" y="295450"/>
                  <a:pt x="5134262" y="306781"/>
                </a:cubicBezTo>
                <a:cubicBezTo>
                  <a:pt x="5161593" y="318111"/>
                  <a:pt x="5184976" y="334533"/>
                  <a:pt x="5204487" y="355903"/>
                </a:cubicBezTo>
                <a:cubicBezTo>
                  <a:pt x="5223999" y="377345"/>
                  <a:pt x="5238864" y="403448"/>
                  <a:pt x="5249085" y="434355"/>
                </a:cubicBezTo>
                <a:cubicBezTo>
                  <a:pt x="5259305" y="465263"/>
                  <a:pt x="5264493" y="500043"/>
                  <a:pt x="5264493" y="538767"/>
                </a:cubicBezTo>
                <a:lnTo>
                  <a:pt x="5264493" y="886639"/>
                </a:lnTo>
                <a:lnTo>
                  <a:pt x="5146341" y="886639"/>
                </a:lnTo>
                <a:lnTo>
                  <a:pt x="5146341" y="563866"/>
                </a:lnTo>
                <a:cubicBezTo>
                  <a:pt x="5146341" y="535253"/>
                  <a:pt x="5142702" y="509724"/>
                  <a:pt x="5135501" y="487350"/>
                </a:cubicBezTo>
                <a:cubicBezTo>
                  <a:pt x="5128223" y="465048"/>
                  <a:pt x="5117771" y="446331"/>
                  <a:pt x="5104144" y="431200"/>
                </a:cubicBezTo>
                <a:cubicBezTo>
                  <a:pt x="5090439" y="416140"/>
                  <a:pt x="5073561" y="404810"/>
                  <a:pt x="5053507" y="397137"/>
                </a:cubicBezTo>
                <a:cubicBezTo>
                  <a:pt x="5033376" y="389536"/>
                  <a:pt x="5010459" y="385663"/>
                  <a:pt x="4984753" y="385663"/>
                </a:cubicBezTo>
                <a:cubicBezTo>
                  <a:pt x="4958970" y="385663"/>
                  <a:pt x="4936130" y="389464"/>
                  <a:pt x="4915999" y="397137"/>
                </a:cubicBezTo>
                <a:cubicBezTo>
                  <a:pt x="4895946" y="404738"/>
                  <a:pt x="4878989" y="416140"/>
                  <a:pt x="4865362" y="431200"/>
                </a:cubicBezTo>
                <a:cubicBezTo>
                  <a:pt x="4851658" y="446259"/>
                  <a:pt x="4841283" y="464976"/>
                  <a:pt x="4834005" y="487350"/>
                </a:cubicBezTo>
                <a:cubicBezTo>
                  <a:pt x="4826727" y="509652"/>
                  <a:pt x="4823166" y="535181"/>
                  <a:pt x="4823166" y="563866"/>
                </a:cubicBezTo>
                <a:lnTo>
                  <a:pt x="4823166" y="886639"/>
                </a:lnTo>
                <a:lnTo>
                  <a:pt x="4705633" y="886639"/>
                </a:lnTo>
                <a:lnTo>
                  <a:pt x="4705633" y="304844"/>
                </a:lnTo>
                <a:lnTo>
                  <a:pt x="4823166" y="304844"/>
                </a:lnTo>
                <a:lnTo>
                  <a:pt x="4823166" y="444466"/>
                </a:lnTo>
                <a:cubicBezTo>
                  <a:pt x="4831605" y="417646"/>
                  <a:pt x="4842522" y="394699"/>
                  <a:pt x="4855994" y="375480"/>
                </a:cubicBezTo>
                <a:cubicBezTo>
                  <a:pt x="4869466" y="356333"/>
                  <a:pt x="4885416" y="340413"/>
                  <a:pt x="4903921" y="327720"/>
                </a:cubicBezTo>
                <a:cubicBezTo>
                  <a:pt x="4922425" y="315099"/>
                  <a:pt x="4943175" y="305561"/>
                  <a:pt x="4966326" y="299251"/>
                </a:cubicBezTo>
                <a:cubicBezTo>
                  <a:pt x="4989476" y="292940"/>
                  <a:pt x="5015027" y="289785"/>
                  <a:pt x="5043209" y="289785"/>
                </a:cubicBezTo>
                <a:close/>
                <a:moveTo>
                  <a:pt x="5755837" y="289714"/>
                </a:moveTo>
                <a:cubicBezTo>
                  <a:pt x="5777129" y="289714"/>
                  <a:pt x="5797027" y="291865"/>
                  <a:pt x="5815532" y="296096"/>
                </a:cubicBezTo>
                <a:cubicBezTo>
                  <a:pt x="5834037" y="300399"/>
                  <a:pt x="5851225" y="306638"/>
                  <a:pt x="5867098" y="314813"/>
                </a:cubicBezTo>
                <a:cubicBezTo>
                  <a:pt x="5882970" y="322988"/>
                  <a:pt x="5897449" y="332741"/>
                  <a:pt x="5910534" y="344143"/>
                </a:cubicBezTo>
                <a:cubicBezTo>
                  <a:pt x="5923618" y="355473"/>
                  <a:pt x="5935465" y="368023"/>
                  <a:pt x="5946072" y="381863"/>
                </a:cubicBezTo>
                <a:cubicBezTo>
                  <a:pt x="5956679" y="395632"/>
                  <a:pt x="5965893" y="410333"/>
                  <a:pt x="5973480" y="425966"/>
                </a:cubicBezTo>
                <a:cubicBezTo>
                  <a:pt x="5981146" y="441599"/>
                  <a:pt x="5987340" y="457805"/>
                  <a:pt x="5992218" y="474514"/>
                </a:cubicBezTo>
                <a:lnTo>
                  <a:pt x="5992218" y="304845"/>
                </a:lnTo>
                <a:lnTo>
                  <a:pt x="6110370" y="304845"/>
                </a:lnTo>
                <a:lnTo>
                  <a:pt x="6110370" y="886640"/>
                </a:lnTo>
                <a:lnTo>
                  <a:pt x="5992218" y="886640"/>
                </a:lnTo>
                <a:lnTo>
                  <a:pt x="5992218" y="717472"/>
                </a:lnTo>
                <a:cubicBezTo>
                  <a:pt x="5984940" y="742428"/>
                  <a:pt x="5974410" y="766021"/>
                  <a:pt x="5960550" y="788395"/>
                </a:cubicBezTo>
                <a:cubicBezTo>
                  <a:pt x="5946692" y="810697"/>
                  <a:pt x="5929967" y="830346"/>
                  <a:pt x="5910534" y="847342"/>
                </a:cubicBezTo>
                <a:cubicBezTo>
                  <a:pt x="5891022" y="864266"/>
                  <a:pt x="5868337" y="877676"/>
                  <a:pt x="5842399" y="887572"/>
                </a:cubicBezTo>
                <a:cubicBezTo>
                  <a:pt x="5816461" y="897396"/>
                  <a:pt x="5787659" y="902344"/>
                  <a:pt x="5755914" y="902344"/>
                </a:cubicBezTo>
                <a:cubicBezTo>
                  <a:pt x="5726028" y="902273"/>
                  <a:pt x="5697922" y="898831"/>
                  <a:pt x="5671443" y="891946"/>
                </a:cubicBezTo>
                <a:cubicBezTo>
                  <a:pt x="5644886" y="885062"/>
                  <a:pt x="5620264" y="875094"/>
                  <a:pt x="5597578" y="862043"/>
                </a:cubicBezTo>
                <a:cubicBezTo>
                  <a:pt x="5574893" y="848991"/>
                  <a:pt x="5554297" y="833501"/>
                  <a:pt x="5535792" y="815430"/>
                </a:cubicBezTo>
                <a:cubicBezTo>
                  <a:pt x="5517288" y="797359"/>
                  <a:pt x="5501570" y="776993"/>
                  <a:pt x="5488485" y="754332"/>
                </a:cubicBezTo>
                <a:cubicBezTo>
                  <a:pt x="5475400" y="731671"/>
                  <a:pt x="5465490" y="706931"/>
                  <a:pt x="5458677" y="680326"/>
                </a:cubicBezTo>
                <a:cubicBezTo>
                  <a:pt x="5451863" y="653721"/>
                  <a:pt x="5448456" y="625538"/>
                  <a:pt x="5448456" y="595778"/>
                </a:cubicBezTo>
                <a:cubicBezTo>
                  <a:pt x="5448456" y="566377"/>
                  <a:pt x="5451863" y="538337"/>
                  <a:pt x="5458677" y="511732"/>
                </a:cubicBezTo>
                <a:cubicBezTo>
                  <a:pt x="5465490" y="485128"/>
                  <a:pt x="5475478" y="460459"/>
                  <a:pt x="5488485" y="437726"/>
                </a:cubicBezTo>
                <a:cubicBezTo>
                  <a:pt x="5501570" y="415066"/>
                  <a:pt x="5517365" y="394556"/>
                  <a:pt x="5535792" y="376270"/>
                </a:cubicBezTo>
                <a:cubicBezTo>
                  <a:pt x="5554297" y="358055"/>
                  <a:pt x="5574893" y="342422"/>
                  <a:pt x="5597578" y="329370"/>
                </a:cubicBezTo>
                <a:cubicBezTo>
                  <a:pt x="5620264" y="316319"/>
                  <a:pt x="5644886" y="306494"/>
                  <a:pt x="5671443" y="299754"/>
                </a:cubicBezTo>
                <a:cubicBezTo>
                  <a:pt x="5697922" y="293013"/>
                  <a:pt x="5726105" y="289714"/>
                  <a:pt x="5755837" y="289714"/>
                </a:cubicBezTo>
                <a:close/>
                <a:moveTo>
                  <a:pt x="3047481" y="285196"/>
                </a:moveTo>
                <a:cubicBezTo>
                  <a:pt x="3064824" y="285196"/>
                  <a:pt x="3081084" y="286845"/>
                  <a:pt x="3096336" y="290216"/>
                </a:cubicBezTo>
                <a:cubicBezTo>
                  <a:pt x="3111589" y="293228"/>
                  <a:pt x="3125681" y="297674"/>
                  <a:pt x="3138533" y="303626"/>
                </a:cubicBezTo>
                <a:cubicBezTo>
                  <a:pt x="3151773" y="309578"/>
                  <a:pt x="3163852" y="316677"/>
                  <a:pt x="3174691" y="324852"/>
                </a:cubicBezTo>
                <a:cubicBezTo>
                  <a:pt x="3185918" y="332669"/>
                  <a:pt x="3196216" y="341633"/>
                  <a:pt x="3205430" y="351672"/>
                </a:cubicBezTo>
                <a:cubicBezTo>
                  <a:pt x="3215108" y="361354"/>
                  <a:pt x="3223702" y="371752"/>
                  <a:pt x="3231367" y="382939"/>
                </a:cubicBezTo>
                <a:cubicBezTo>
                  <a:pt x="3239032" y="394126"/>
                  <a:pt x="3245846" y="405671"/>
                  <a:pt x="3251885" y="417575"/>
                </a:cubicBezTo>
                <a:lnTo>
                  <a:pt x="3251885" y="303698"/>
                </a:lnTo>
                <a:lnTo>
                  <a:pt x="3464729" y="303698"/>
                </a:lnTo>
                <a:lnTo>
                  <a:pt x="3464729" y="885420"/>
                </a:lnTo>
                <a:lnTo>
                  <a:pt x="3251885" y="885420"/>
                </a:lnTo>
                <a:lnTo>
                  <a:pt x="3251885" y="771543"/>
                </a:lnTo>
                <a:cubicBezTo>
                  <a:pt x="3242671" y="789471"/>
                  <a:pt x="3231599" y="806394"/>
                  <a:pt x="3218747" y="822386"/>
                </a:cubicBezTo>
                <a:cubicBezTo>
                  <a:pt x="3206359" y="838378"/>
                  <a:pt x="3191648" y="852576"/>
                  <a:pt x="3174769" y="864839"/>
                </a:cubicBezTo>
                <a:cubicBezTo>
                  <a:pt x="3158277" y="876743"/>
                  <a:pt x="3139385" y="886209"/>
                  <a:pt x="3118093" y="893309"/>
                </a:cubicBezTo>
                <a:cubicBezTo>
                  <a:pt x="3097188" y="900408"/>
                  <a:pt x="3073728" y="903922"/>
                  <a:pt x="3047558" y="903922"/>
                </a:cubicBezTo>
                <a:cubicBezTo>
                  <a:pt x="3019840" y="903922"/>
                  <a:pt x="2993360" y="900408"/>
                  <a:pt x="2967887" y="893093"/>
                </a:cubicBezTo>
                <a:cubicBezTo>
                  <a:pt x="2942569" y="886066"/>
                  <a:pt x="2919031" y="876026"/>
                  <a:pt x="2897352" y="862975"/>
                </a:cubicBezTo>
                <a:cubicBezTo>
                  <a:pt x="2875673" y="849923"/>
                  <a:pt x="2855929" y="834290"/>
                  <a:pt x="2838276" y="816075"/>
                </a:cubicBezTo>
                <a:cubicBezTo>
                  <a:pt x="2820623" y="797861"/>
                  <a:pt x="2805525" y="777423"/>
                  <a:pt x="2793060" y="754690"/>
                </a:cubicBezTo>
                <a:cubicBezTo>
                  <a:pt x="2780594" y="731671"/>
                  <a:pt x="2770916" y="706716"/>
                  <a:pt x="2764102" y="679895"/>
                </a:cubicBezTo>
                <a:cubicBezTo>
                  <a:pt x="2757289" y="652717"/>
                  <a:pt x="2753882" y="624319"/>
                  <a:pt x="2753882" y="594487"/>
                </a:cubicBezTo>
                <a:cubicBezTo>
                  <a:pt x="2753882" y="564655"/>
                  <a:pt x="2757289" y="536401"/>
                  <a:pt x="2764102" y="509581"/>
                </a:cubicBezTo>
                <a:cubicBezTo>
                  <a:pt x="2770993" y="482402"/>
                  <a:pt x="2780594" y="457518"/>
                  <a:pt x="2793060" y="434786"/>
                </a:cubicBezTo>
                <a:cubicBezTo>
                  <a:pt x="2805525" y="411695"/>
                  <a:pt x="2820623" y="391042"/>
                  <a:pt x="2838276" y="372827"/>
                </a:cubicBezTo>
                <a:cubicBezTo>
                  <a:pt x="2855929" y="354613"/>
                  <a:pt x="2875673" y="338980"/>
                  <a:pt x="2897352" y="325928"/>
                </a:cubicBezTo>
                <a:cubicBezTo>
                  <a:pt x="2919031" y="312948"/>
                  <a:pt x="2942569" y="302909"/>
                  <a:pt x="2967887" y="295809"/>
                </a:cubicBezTo>
                <a:cubicBezTo>
                  <a:pt x="2993205" y="288710"/>
                  <a:pt x="3019762" y="285196"/>
                  <a:pt x="3047481" y="285196"/>
                </a:cubicBezTo>
                <a:close/>
                <a:moveTo>
                  <a:pt x="832715" y="285196"/>
                </a:moveTo>
                <a:cubicBezTo>
                  <a:pt x="867324" y="285196"/>
                  <a:pt x="897830" y="290574"/>
                  <a:pt x="924387" y="301403"/>
                </a:cubicBezTo>
                <a:cubicBezTo>
                  <a:pt x="950867" y="311801"/>
                  <a:pt x="973165" y="327291"/>
                  <a:pt x="991283" y="347728"/>
                </a:cubicBezTo>
                <a:cubicBezTo>
                  <a:pt x="1009789" y="367879"/>
                  <a:pt x="1023647" y="392405"/>
                  <a:pt x="1032861" y="421448"/>
                </a:cubicBezTo>
                <a:cubicBezTo>
                  <a:pt x="1042539" y="450491"/>
                  <a:pt x="1047339" y="483621"/>
                  <a:pt x="1047339" y="520840"/>
                </a:cubicBezTo>
                <a:lnTo>
                  <a:pt x="1047339" y="885420"/>
                </a:lnTo>
                <a:lnTo>
                  <a:pt x="834496" y="885420"/>
                </a:lnTo>
                <a:lnTo>
                  <a:pt x="834496" y="574408"/>
                </a:lnTo>
                <a:cubicBezTo>
                  <a:pt x="834496" y="553970"/>
                  <a:pt x="832484" y="536114"/>
                  <a:pt x="828456" y="520840"/>
                </a:cubicBezTo>
                <a:cubicBezTo>
                  <a:pt x="824817" y="505637"/>
                  <a:pt x="818778" y="492944"/>
                  <a:pt x="810340" y="482904"/>
                </a:cubicBezTo>
                <a:cubicBezTo>
                  <a:pt x="801899" y="472506"/>
                  <a:pt x="791215" y="464690"/>
                  <a:pt x="778362" y="459455"/>
                </a:cubicBezTo>
                <a:cubicBezTo>
                  <a:pt x="765509" y="454220"/>
                  <a:pt x="750179" y="451638"/>
                  <a:pt x="732526" y="451638"/>
                </a:cubicBezTo>
                <a:cubicBezTo>
                  <a:pt x="714795" y="451638"/>
                  <a:pt x="699542" y="454220"/>
                  <a:pt x="686690" y="459455"/>
                </a:cubicBezTo>
                <a:cubicBezTo>
                  <a:pt x="673837" y="464690"/>
                  <a:pt x="663153" y="472506"/>
                  <a:pt x="654713" y="482904"/>
                </a:cubicBezTo>
                <a:cubicBezTo>
                  <a:pt x="646661" y="492944"/>
                  <a:pt x="640622" y="505637"/>
                  <a:pt x="636673" y="520911"/>
                </a:cubicBezTo>
                <a:cubicBezTo>
                  <a:pt x="632647" y="536114"/>
                  <a:pt x="630633" y="554042"/>
                  <a:pt x="630633" y="574480"/>
                </a:cubicBezTo>
                <a:lnTo>
                  <a:pt x="630633" y="885420"/>
                </a:lnTo>
                <a:lnTo>
                  <a:pt x="417170" y="885420"/>
                </a:lnTo>
                <a:lnTo>
                  <a:pt x="417170" y="574408"/>
                </a:lnTo>
                <a:cubicBezTo>
                  <a:pt x="417170" y="553970"/>
                  <a:pt x="415157" y="536114"/>
                  <a:pt x="411131" y="520840"/>
                </a:cubicBezTo>
                <a:cubicBezTo>
                  <a:pt x="407570" y="505637"/>
                  <a:pt x="401530" y="492944"/>
                  <a:pt x="393091" y="482904"/>
                </a:cubicBezTo>
                <a:cubicBezTo>
                  <a:pt x="385040" y="472506"/>
                  <a:pt x="374586" y="464690"/>
                  <a:pt x="361734" y="459455"/>
                </a:cubicBezTo>
                <a:cubicBezTo>
                  <a:pt x="348803" y="454220"/>
                  <a:pt x="333396" y="451638"/>
                  <a:pt x="315279" y="451638"/>
                </a:cubicBezTo>
                <a:cubicBezTo>
                  <a:pt x="297626" y="451638"/>
                  <a:pt x="282372" y="454220"/>
                  <a:pt x="269519" y="459455"/>
                </a:cubicBezTo>
                <a:cubicBezTo>
                  <a:pt x="256668" y="464690"/>
                  <a:pt x="245982" y="472506"/>
                  <a:pt x="237542" y="482904"/>
                </a:cubicBezTo>
                <a:cubicBezTo>
                  <a:pt x="229491" y="492944"/>
                  <a:pt x="223451" y="505637"/>
                  <a:pt x="219426" y="520911"/>
                </a:cubicBezTo>
                <a:cubicBezTo>
                  <a:pt x="215399" y="536114"/>
                  <a:pt x="213386" y="554042"/>
                  <a:pt x="213386" y="574480"/>
                </a:cubicBezTo>
                <a:lnTo>
                  <a:pt x="213386" y="885492"/>
                </a:lnTo>
                <a:lnTo>
                  <a:pt x="0" y="885492"/>
                </a:lnTo>
                <a:lnTo>
                  <a:pt x="0" y="303698"/>
                </a:lnTo>
                <a:lnTo>
                  <a:pt x="213463" y="303698"/>
                </a:lnTo>
                <a:lnTo>
                  <a:pt x="213463" y="412555"/>
                </a:lnTo>
                <a:cubicBezTo>
                  <a:pt x="222290" y="393193"/>
                  <a:pt x="232897" y="375696"/>
                  <a:pt x="245362" y="360063"/>
                </a:cubicBezTo>
                <a:cubicBezTo>
                  <a:pt x="258215" y="344430"/>
                  <a:pt x="272926" y="331020"/>
                  <a:pt x="289418" y="319833"/>
                </a:cubicBezTo>
                <a:cubicBezTo>
                  <a:pt x="306297" y="308717"/>
                  <a:pt x="324956" y="300112"/>
                  <a:pt x="345474" y="294232"/>
                </a:cubicBezTo>
                <a:cubicBezTo>
                  <a:pt x="366379" y="288280"/>
                  <a:pt x="389685" y="285268"/>
                  <a:pt x="415390" y="285268"/>
                </a:cubicBezTo>
                <a:cubicBezTo>
                  <a:pt x="441096" y="285268"/>
                  <a:pt x="464632" y="288423"/>
                  <a:pt x="485925" y="294734"/>
                </a:cubicBezTo>
                <a:cubicBezTo>
                  <a:pt x="507605" y="301044"/>
                  <a:pt x="526883" y="310367"/>
                  <a:pt x="543762" y="322629"/>
                </a:cubicBezTo>
                <a:cubicBezTo>
                  <a:pt x="560640" y="334533"/>
                  <a:pt x="574965" y="349234"/>
                  <a:pt x="586656" y="366732"/>
                </a:cubicBezTo>
                <a:cubicBezTo>
                  <a:pt x="598269" y="384229"/>
                  <a:pt x="607328" y="404309"/>
                  <a:pt x="613756" y="427041"/>
                </a:cubicBezTo>
                <a:cubicBezTo>
                  <a:pt x="623742" y="404022"/>
                  <a:pt x="636208" y="383727"/>
                  <a:pt x="651074" y="366230"/>
                </a:cubicBezTo>
                <a:cubicBezTo>
                  <a:pt x="665940" y="348374"/>
                  <a:pt x="682664" y="333458"/>
                  <a:pt x="701168" y="321554"/>
                </a:cubicBezTo>
                <a:cubicBezTo>
                  <a:pt x="719597" y="309650"/>
                  <a:pt x="739959" y="300686"/>
                  <a:pt x="762180" y="294662"/>
                </a:cubicBezTo>
                <a:cubicBezTo>
                  <a:pt x="784246" y="288351"/>
                  <a:pt x="807784" y="285196"/>
                  <a:pt x="832715" y="285196"/>
                </a:cubicBezTo>
                <a:close/>
                <a:moveTo>
                  <a:pt x="1587230" y="281969"/>
                </a:moveTo>
                <a:cubicBezTo>
                  <a:pt x="1623775" y="281969"/>
                  <a:pt x="1657765" y="285913"/>
                  <a:pt x="1689122" y="293730"/>
                </a:cubicBezTo>
                <a:cubicBezTo>
                  <a:pt x="1720867" y="301116"/>
                  <a:pt x="1749592" y="312159"/>
                  <a:pt x="1775297" y="326645"/>
                </a:cubicBezTo>
                <a:cubicBezTo>
                  <a:pt x="1801467" y="340772"/>
                  <a:pt x="1824385" y="358270"/>
                  <a:pt x="1844052" y="379138"/>
                </a:cubicBezTo>
                <a:cubicBezTo>
                  <a:pt x="1863718" y="399934"/>
                  <a:pt x="1879822" y="423958"/>
                  <a:pt x="1892288" y="451136"/>
                </a:cubicBezTo>
                <a:cubicBezTo>
                  <a:pt x="1905141" y="477956"/>
                  <a:pt x="1914045" y="507716"/>
                  <a:pt x="1918845" y="540489"/>
                </a:cubicBezTo>
                <a:cubicBezTo>
                  <a:pt x="1924110" y="573189"/>
                  <a:pt x="1925116" y="608614"/>
                  <a:pt x="1921865" y="646550"/>
                </a:cubicBezTo>
                <a:lnTo>
                  <a:pt x="1453438" y="646550"/>
                </a:lnTo>
                <a:cubicBezTo>
                  <a:pt x="1456226" y="657306"/>
                  <a:pt x="1460097" y="667561"/>
                  <a:pt x="1464897" y="677242"/>
                </a:cubicBezTo>
                <a:cubicBezTo>
                  <a:pt x="1470085" y="686923"/>
                  <a:pt x="1476511" y="695672"/>
                  <a:pt x="1484176" y="703489"/>
                </a:cubicBezTo>
                <a:cubicBezTo>
                  <a:pt x="1492229" y="711305"/>
                  <a:pt x="1501055" y="718405"/>
                  <a:pt x="1510733" y="724715"/>
                </a:cubicBezTo>
                <a:cubicBezTo>
                  <a:pt x="1520721" y="731026"/>
                  <a:pt x="1531561" y="736476"/>
                  <a:pt x="1543252" y="740922"/>
                </a:cubicBezTo>
                <a:cubicBezTo>
                  <a:pt x="1554943" y="745009"/>
                  <a:pt x="1567409" y="748165"/>
                  <a:pt x="1580649" y="750388"/>
                </a:cubicBezTo>
                <a:cubicBezTo>
                  <a:pt x="1593889" y="752611"/>
                  <a:pt x="1607980" y="753758"/>
                  <a:pt x="1622846" y="753758"/>
                </a:cubicBezTo>
                <a:cubicBezTo>
                  <a:pt x="1639260" y="753758"/>
                  <a:pt x="1655752" y="752396"/>
                  <a:pt x="1672244" y="749814"/>
                </a:cubicBezTo>
                <a:cubicBezTo>
                  <a:pt x="1688735" y="746802"/>
                  <a:pt x="1704840" y="742356"/>
                  <a:pt x="1720480" y="736404"/>
                </a:cubicBezTo>
                <a:cubicBezTo>
                  <a:pt x="1736507" y="730093"/>
                  <a:pt x="1752225" y="722062"/>
                  <a:pt x="1767477" y="712381"/>
                </a:cubicBezTo>
                <a:cubicBezTo>
                  <a:pt x="1782808" y="702700"/>
                  <a:pt x="1797209" y="691154"/>
                  <a:pt x="1810913" y="677744"/>
                </a:cubicBezTo>
                <a:lnTo>
                  <a:pt x="1910406" y="794419"/>
                </a:lnTo>
                <a:cubicBezTo>
                  <a:pt x="1889578" y="813781"/>
                  <a:pt x="1867434" y="830346"/>
                  <a:pt x="1844129" y="844115"/>
                </a:cubicBezTo>
                <a:cubicBezTo>
                  <a:pt x="1820824" y="857883"/>
                  <a:pt x="1796512" y="869214"/>
                  <a:pt x="1771194" y="878177"/>
                </a:cubicBezTo>
                <a:cubicBezTo>
                  <a:pt x="1745876" y="887141"/>
                  <a:pt x="1719319" y="893667"/>
                  <a:pt x="1691600" y="897755"/>
                </a:cubicBezTo>
                <a:cubicBezTo>
                  <a:pt x="1664269" y="901842"/>
                  <a:pt x="1635699" y="903922"/>
                  <a:pt x="1605967" y="903922"/>
                </a:cubicBezTo>
                <a:cubicBezTo>
                  <a:pt x="1568958" y="903922"/>
                  <a:pt x="1534193" y="900193"/>
                  <a:pt x="1501597" y="892735"/>
                </a:cubicBezTo>
                <a:cubicBezTo>
                  <a:pt x="1469078" y="885707"/>
                  <a:pt x="1439347" y="875668"/>
                  <a:pt x="1412403" y="862616"/>
                </a:cubicBezTo>
                <a:cubicBezTo>
                  <a:pt x="1385536" y="849206"/>
                  <a:pt x="1361379" y="833358"/>
                  <a:pt x="1340087" y="815143"/>
                </a:cubicBezTo>
                <a:cubicBezTo>
                  <a:pt x="1318795" y="796570"/>
                  <a:pt x="1300677" y="775702"/>
                  <a:pt x="1285811" y="752611"/>
                </a:cubicBezTo>
                <a:cubicBezTo>
                  <a:pt x="1271333" y="729592"/>
                  <a:pt x="1260338" y="704636"/>
                  <a:pt x="1252673" y="677816"/>
                </a:cubicBezTo>
                <a:cubicBezTo>
                  <a:pt x="1245008" y="650996"/>
                  <a:pt x="1241214" y="623100"/>
                  <a:pt x="1241214" y="594057"/>
                </a:cubicBezTo>
                <a:cubicBezTo>
                  <a:pt x="1241214" y="564655"/>
                  <a:pt x="1244853" y="536544"/>
                  <a:pt x="1252054" y="509724"/>
                </a:cubicBezTo>
                <a:cubicBezTo>
                  <a:pt x="1259641" y="482976"/>
                  <a:pt x="1270481" y="458020"/>
                  <a:pt x="1284573" y="434929"/>
                </a:cubicBezTo>
                <a:cubicBezTo>
                  <a:pt x="1298664" y="411838"/>
                  <a:pt x="1315698" y="391042"/>
                  <a:pt x="1335828" y="372397"/>
                </a:cubicBezTo>
                <a:cubicBezTo>
                  <a:pt x="1355959" y="353465"/>
                  <a:pt x="1378877" y="337259"/>
                  <a:pt x="1404583" y="323848"/>
                </a:cubicBezTo>
                <a:cubicBezTo>
                  <a:pt x="1430288" y="310438"/>
                  <a:pt x="1458393" y="300255"/>
                  <a:pt x="1488977" y="293156"/>
                </a:cubicBezTo>
                <a:cubicBezTo>
                  <a:pt x="1519947" y="285698"/>
                  <a:pt x="1552698" y="281969"/>
                  <a:pt x="1587230" y="281969"/>
                </a:cubicBezTo>
                <a:close/>
                <a:moveTo>
                  <a:pt x="2189216" y="114379"/>
                </a:moveTo>
                <a:lnTo>
                  <a:pt x="2402137" y="114379"/>
                </a:lnTo>
                <a:lnTo>
                  <a:pt x="2402137" y="303697"/>
                </a:lnTo>
                <a:lnTo>
                  <a:pt x="2590824" y="303697"/>
                </a:lnTo>
                <a:lnTo>
                  <a:pt x="2590824" y="471215"/>
                </a:lnTo>
                <a:lnTo>
                  <a:pt x="2402137" y="471215"/>
                </a:lnTo>
                <a:lnTo>
                  <a:pt x="2402137" y="633067"/>
                </a:lnTo>
                <a:cubicBezTo>
                  <a:pt x="2402137" y="651641"/>
                  <a:pt x="2404538" y="667130"/>
                  <a:pt x="2409338" y="679393"/>
                </a:cubicBezTo>
                <a:cubicBezTo>
                  <a:pt x="2414525" y="691727"/>
                  <a:pt x="2421803" y="701552"/>
                  <a:pt x="2431017" y="709010"/>
                </a:cubicBezTo>
                <a:cubicBezTo>
                  <a:pt x="2440308" y="716468"/>
                  <a:pt x="2451767" y="721846"/>
                  <a:pt x="2465394" y="725217"/>
                </a:cubicBezTo>
                <a:cubicBezTo>
                  <a:pt x="2479021" y="728157"/>
                  <a:pt x="2494739" y="729663"/>
                  <a:pt x="2512392" y="729663"/>
                </a:cubicBezTo>
                <a:cubicBezTo>
                  <a:pt x="2520057" y="729663"/>
                  <a:pt x="2527258" y="729448"/>
                  <a:pt x="2534071" y="729089"/>
                </a:cubicBezTo>
                <a:cubicBezTo>
                  <a:pt x="2541349" y="728730"/>
                  <a:pt x="2548162" y="728157"/>
                  <a:pt x="2554589" y="727440"/>
                </a:cubicBezTo>
                <a:cubicBezTo>
                  <a:pt x="2561402" y="726723"/>
                  <a:pt x="2567829" y="725934"/>
                  <a:pt x="2573868" y="725217"/>
                </a:cubicBezTo>
                <a:cubicBezTo>
                  <a:pt x="2579907" y="724069"/>
                  <a:pt x="2585327" y="722994"/>
                  <a:pt x="2590127" y="721846"/>
                </a:cubicBezTo>
                <a:lnTo>
                  <a:pt x="2590127" y="879324"/>
                </a:lnTo>
                <a:cubicBezTo>
                  <a:pt x="2578049" y="881906"/>
                  <a:pt x="2566048" y="884129"/>
                  <a:pt x="2553969" y="885994"/>
                </a:cubicBezTo>
                <a:cubicBezTo>
                  <a:pt x="2542278" y="888217"/>
                  <a:pt x="2530664" y="889866"/>
                  <a:pt x="2518973" y="891013"/>
                </a:cubicBezTo>
                <a:cubicBezTo>
                  <a:pt x="2507746" y="892519"/>
                  <a:pt x="2496287" y="893667"/>
                  <a:pt x="2484596" y="894384"/>
                </a:cubicBezTo>
                <a:cubicBezTo>
                  <a:pt x="2473369" y="895173"/>
                  <a:pt x="2462142" y="895531"/>
                  <a:pt x="2450838" y="895531"/>
                </a:cubicBezTo>
                <a:cubicBezTo>
                  <a:pt x="2412667" y="895531"/>
                  <a:pt x="2377516" y="891659"/>
                  <a:pt x="2345384" y="883770"/>
                </a:cubicBezTo>
                <a:cubicBezTo>
                  <a:pt x="2313639" y="875954"/>
                  <a:pt x="2286076" y="863333"/>
                  <a:pt x="2262771" y="845835"/>
                </a:cubicBezTo>
                <a:cubicBezTo>
                  <a:pt x="2239853" y="827979"/>
                  <a:pt x="2221735" y="804745"/>
                  <a:pt x="2208495" y="776060"/>
                </a:cubicBezTo>
                <a:cubicBezTo>
                  <a:pt x="2195643" y="747017"/>
                  <a:pt x="2189216" y="711520"/>
                  <a:pt x="2189216" y="669425"/>
                </a:cubicBezTo>
                <a:lnTo>
                  <a:pt x="2189216" y="471215"/>
                </a:lnTo>
                <a:lnTo>
                  <a:pt x="2062625" y="471215"/>
                </a:lnTo>
                <a:lnTo>
                  <a:pt x="2062625" y="303697"/>
                </a:lnTo>
                <a:lnTo>
                  <a:pt x="2189216" y="303697"/>
                </a:lnTo>
                <a:close/>
                <a:moveTo>
                  <a:pt x="4413737" y="27895"/>
                </a:moveTo>
                <a:cubicBezTo>
                  <a:pt x="4425351" y="27895"/>
                  <a:pt x="4436036" y="29688"/>
                  <a:pt x="4445714" y="33202"/>
                </a:cubicBezTo>
                <a:cubicBezTo>
                  <a:pt x="4455392" y="36716"/>
                  <a:pt x="4463677" y="41664"/>
                  <a:pt x="4470723" y="47974"/>
                </a:cubicBezTo>
                <a:cubicBezTo>
                  <a:pt x="4477768" y="54285"/>
                  <a:pt x="4483265" y="61886"/>
                  <a:pt x="4487292" y="70850"/>
                </a:cubicBezTo>
                <a:cubicBezTo>
                  <a:pt x="4491318" y="79814"/>
                  <a:pt x="4493331" y="89854"/>
                  <a:pt x="4493331" y="101041"/>
                </a:cubicBezTo>
                <a:cubicBezTo>
                  <a:pt x="4493331" y="111869"/>
                  <a:pt x="4491318" y="121622"/>
                  <a:pt x="4487292" y="130371"/>
                </a:cubicBezTo>
                <a:cubicBezTo>
                  <a:pt x="4483265" y="139119"/>
                  <a:pt x="4477768" y="146721"/>
                  <a:pt x="4470723" y="153247"/>
                </a:cubicBezTo>
                <a:cubicBezTo>
                  <a:pt x="4463677" y="159772"/>
                  <a:pt x="4455315" y="164720"/>
                  <a:pt x="4445714" y="168019"/>
                </a:cubicBezTo>
                <a:cubicBezTo>
                  <a:pt x="4436036" y="171318"/>
                  <a:pt x="4425428" y="173039"/>
                  <a:pt x="4413737" y="173039"/>
                </a:cubicBezTo>
                <a:cubicBezTo>
                  <a:pt x="4402123" y="173039"/>
                  <a:pt x="4391361" y="171318"/>
                  <a:pt x="4381451" y="168019"/>
                </a:cubicBezTo>
                <a:cubicBezTo>
                  <a:pt x="4371618" y="164649"/>
                  <a:pt x="4363178" y="159701"/>
                  <a:pt x="4356132" y="153247"/>
                </a:cubicBezTo>
                <a:cubicBezTo>
                  <a:pt x="4349087" y="146721"/>
                  <a:pt x="4343589" y="139119"/>
                  <a:pt x="4339563" y="130371"/>
                </a:cubicBezTo>
                <a:cubicBezTo>
                  <a:pt x="4335537" y="121622"/>
                  <a:pt x="4333524" y="111869"/>
                  <a:pt x="4333524" y="101041"/>
                </a:cubicBezTo>
                <a:cubicBezTo>
                  <a:pt x="4333524" y="89854"/>
                  <a:pt x="4335537" y="79814"/>
                  <a:pt x="4339563" y="70850"/>
                </a:cubicBezTo>
                <a:cubicBezTo>
                  <a:pt x="4343589" y="61886"/>
                  <a:pt x="4349087" y="54285"/>
                  <a:pt x="4356132" y="47974"/>
                </a:cubicBezTo>
                <a:cubicBezTo>
                  <a:pt x="4363178" y="41664"/>
                  <a:pt x="4371618" y="36716"/>
                  <a:pt x="4381451" y="33202"/>
                </a:cubicBezTo>
                <a:cubicBezTo>
                  <a:pt x="4391284" y="29688"/>
                  <a:pt x="4402046" y="27895"/>
                  <a:pt x="4413737" y="27895"/>
                </a:cubicBezTo>
                <a:close/>
                <a:moveTo>
                  <a:pt x="4098150" y="0"/>
                </a:moveTo>
                <a:cubicBezTo>
                  <a:pt x="4113403" y="0"/>
                  <a:pt x="4128656" y="574"/>
                  <a:pt x="4143986" y="1649"/>
                </a:cubicBezTo>
                <a:cubicBezTo>
                  <a:pt x="4159239" y="2797"/>
                  <a:pt x="4174104" y="4231"/>
                  <a:pt x="4188583" y="6095"/>
                </a:cubicBezTo>
                <a:lnTo>
                  <a:pt x="4188583" y="101041"/>
                </a:lnTo>
                <a:cubicBezTo>
                  <a:pt x="4181383" y="99535"/>
                  <a:pt x="4173872" y="98460"/>
                  <a:pt x="4166285" y="97671"/>
                </a:cubicBezTo>
                <a:cubicBezTo>
                  <a:pt x="4158619" y="96954"/>
                  <a:pt x="4151032" y="96237"/>
                  <a:pt x="4143366" y="95735"/>
                </a:cubicBezTo>
                <a:cubicBezTo>
                  <a:pt x="4135701" y="95161"/>
                  <a:pt x="4128191" y="94802"/>
                  <a:pt x="4120758" y="94659"/>
                </a:cubicBezTo>
                <a:cubicBezTo>
                  <a:pt x="4113325" y="94444"/>
                  <a:pt x="4105970" y="94372"/>
                  <a:pt x="4098769" y="94372"/>
                </a:cubicBezTo>
                <a:cubicBezTo>
                  <a:pt x="4085916" y="94372"/>
                  <a:pt x="4073451" y="95161"/>
                  <a:pt x="4061373" y="96595"/>
                </a:cubicBezTo>
                <a:cubicBezTo>
                  <a:pt x="4049294" y="98101"/>
                  <a:pt x="4038067" y="100396"/>
                  <a:pt x="4027615" y="103551"/>
                </a:cubicBezTo>
                <a:cubicBezTo>
                  <a:pt x="4017162" y="106707"/>
                  <a:pt x="4007639" y="111296"/>
                  <a:pt x="3998967" y="117248"/>
                </a:cubicBezTo>
                <a:cubicBezTo>
                  <a:pt x="3990296" y="123200"/>
                  <a:pt x="3983018" y="130443"/>
                  <a:pt x="3976978" y="139048"/>
                </a:cubicBezTo>
                <a:cubicBezTo>
                  <a:pt x="3970939" y="147654"/>
                  <a:pt x="3966139" y="157837"/>
                  <a:pt x="3962500" y="169741"/>
                </a:cubicBezTo>
                <a:cubicBezTo>
                  <a:pt x="3958861" y="181645"/>
                  <a:pt x="3957080" y="195772"/>
                  <a:pt x="3957080" y="212194"/>
                </a:cubicBezTo>
                <a:lnTo>
                  <a:pt x="3957080" y="304917"/>
                </a:lnTo>
                <a:lnTo>
                  <a:pt x="4188583" y="304917"/>
                </a:lnTo>
                <a:lnTo>
                  <a:pt x="4188583" y="400938"/>
                </a:lnTo>
                <a:lnTo>
                  <a:pt x="3957080" y="400938"/>
                </a:lnTo>
                <a:lnTo>
                  <a:pt x="3957080" y="886711"/>
                </a:lnTo>
                <a:lnTo>
                  <a:pt x="3839547" y="886711"/>
                </a:lnTo>
                <a:lnTo>
                  <a:pt x="3839547" y="400867"/>
                </a:lnTo>
                <a:lnTo>
                  <a:pt x="3695458" y="400867"/>
                </a:lnTo>
                <a:lnTo>
                  <a:pt x="3695458" y="304845"/>
                </a:lnTo>
                <a:lnTo>
                  <a:pt x="3839547" y="304845"/>
                </a:lnTo>
                <a:lnTo>
                  <a:pt x="3839547" y="209899"/>
                </a:lnTo>
                <a:cubicBezTo>
                  <a:pt x="3839547" y="183151"/>
                  <a:pt x="3842799" y="159271"/>
                  <a:pt x="3849226" y="138475"/>
                </a:cubicBezTo>
                <a:cubicBezTo>
                  <a:pt x="3855652" y="117607"/>
                  <a:pt x="3864788" y="99464"/>
                  <a:pt x="3876634" y="84046"/>
                </a:cubicBezTo>
                <a:cubicBezTo>
                  <a:pt x="3888481" y="68556"/>
                  <a:pt x="3902495" y="55505"/>
                  <a:pt x="3918522" y="44676"/>
                </a:cubicBezTo>
                <a:cubicBezTo>
                  <a:pt x="3934549" y="33848"/>
                  <a:pt x="3952202" y="25242"/>
                  <a:pt x="3971249" y="18717"/>
                </a:cubicBezTo>
                <a:cubicBezTo>
                  <a:pt x="3990373" y="12191"/>
                  <a:pt x="4010658" y="7458"/>
                  <a:pt x="4032105" y="4446"/>
                </a:cubicBezTo>
                <a:cubicBezTo>
                  <a:pt x="4053630" y="1434"/>
                  <a:pt x="4075619" y="0"/>
                  <a:pt x="4098150" y="0"/>
                </a:cubicBezTo>
                <a:close/>
              </a:path>
            </a:pathLst>
          </a:custGeom>
          <a:solidFill>
            <a:schemeClr val="bg2"/>
          </a:solidFill>
          <a:ln w="7735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C7EB6156-BCC9-B087-A7F0-E13E0645488B}"/>
              </a:ext>
            </a:extLst>
          </p:cNvPr>
          <p:cNvSpPr txBox="1">
            <a:spLocks/>
          </p:cNvSpPr>
          <p:nvPr/>
        </p:nvSpPr>
        <p:spPr>
          <a:xfrm>
            <a:off x="6313714" y="2113463"/>
            <a:ext cx="5182961" cy="49244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/>
            <a:r>
              <a:rPr lang="de-DE" sz="3200" b="0" noProof="0">
                <a:solidFill>
                  <a:schemeClr val="bg2"/>
                </a:solidFill>
              </a:rPr>
              <a:t>wir schreiben das Jahr 2040</a:t>
            </a:r>
            <a:endParaRPr lang="de-DE" sz="3200" b="0" noProof="0">
              <a:gradFill flip="none" rotWithShape="1">
                <a:gsLst>
                  <a:gs pos="59500">
                    <a:schemeClr val="accent4"/>
                  </a:gs>
                  <a:gs pos="29000">
                    <a:schemeClr val="accent2"/>
                  </a:gs>
                  <a:gs pos="90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7D2C87CA-35BB-0ACF-772E-12C929E0A03D}"/>
              </a:ext>
            </a:extLst>
          </p:cNvPr>
          <p:cNvSpPr txBox="1">
            <a:spLocks/>
          </p:cNvSpPr>
          <p:nvPr/>
        </p:nvSpPr>
        <p:spPr>
          <a:xfrm>
            <a:off x="6531429" y="3324237"/>
            <a:ext cx="4965246" cy="147732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/>
            <a:r>
              <a:rPr lang="de-DE" sz="3200" noProof="0">
                <a:gradFill flip="none" rotWithShape="1">
                  <a:gsLst>
                    <a:gs pos="50000">
                      <a:schemeClr val="accent4"/>
                    </a:gs>
                    <a:gs pos="0">
                      <a:schemeClr val="accent2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</a:rPr>
              <a:t>Nachhaltigkeit und Digitalisierung sind nicht mehr wegzudenken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E9E0D16C-32F9-FEC9-AADC-8894CC41BCCA}"/>
              </a:ext>
            </a:extLst>
          </p:cNvPr>
          <p:cNvSpPr txBox="1">
            <a:spLocks/>
          </p:cNvSpPr>
          <p:nvPr/>
        </p:nvSpPr>
        <p:spPr>
          <a:xfrm>
            <a:off x="6313714" y="1468273"/>
            <a:ext cx="5182961" cy="49244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/>
            <a:r>
              <a:rPr lang="de-DE" sz="3200" noProof="0">
                <a:solidFill>
                  <a:schemeClr val="bg2"/>
                </a:solidFill>
              </a:rPr>
              <a:t>Stellt euch einmal vor</a:t>
            </a:r>
            <a:endParaRPr lang="de-DE" sz="3200" noProof="0">
              <a:gradFill flip="none" rotWithShape="1">
                <a:gsLst>
                  <a:gs pos="59500">
                    <a:schemeClr val="accent4"/>
                  </a:gs>
                  <a:gs pos="29000">
                    <a:schemeClr val="accent2"/>
                  </a:gs>
                  <a:gs pos="90000">
                    <a:schemeClr val="accent5"/>
                  </a:gs>
                </a:gsLst>
                <a:lin ang="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56926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0 L 2.70833E-6 0.03866 " pathEditMode="relative" rAng="0" ptsTypes="AA">
                                      <p:cBhvr>
                                        <p:cTn id="13" dur="1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16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79167E-6 -3.33333E-6 L -0.05572 0.0007 " pathEditMode="relative" rAng="0" ptsTypes="AA">
                                      <p:cBhvr>
                                        <p:cTn id="23" dur="10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8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5" grpId="1"/>
      <p:bldP spid="16" grpId="0"/>
      <p:bldP spid="16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F0B73F-F626-AAC2-2AFC-791BFF55A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F2D5019-DE81-06EC-987B-CBEA413F0B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2310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2D5019-DE81-06EC-987B-CBEA413F0B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>
            <a:extLst>
              <a:ext uri="{FF2B5EF4-FFF2-40B4-BE49-F238E27FC236}">
                <a16:creationId xmlns:a16="http://schemas.microsoft.com/office/drawing/2014/main" id="{C2D199EC-EB7D-5A82-9FFD-55B3B8F08AF6}"/>
              </a:ext>
            </a:extLst>
          </p:cNvPr>
          <p:cNvSpPr txBox="1">
            <a:spLocks/>
          </p:cNvSpPr>
          <p:nvPr/>
        </p:nvSpPr>
        <p:spPr>
          <a:xfrm>
            <a:off x="695326" y="2120083"/>
            <a:ext cx="9058274" cy="5539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3600" b="0" noProof="0"/>
              <a:t>und in die Zukunft beamen …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C378ED8B-C783-B2A0-BCB8-356992779B3E}"/>
              </a:ext>
            </a:extLst>
          </p:cNvPr>
          <p:cNvSpPr txBox="1">
            <a:spLocks/>
          </p:cNvSpPr>
          <p:nvPr/>
        </p:nvSpPr>
        <p:spPr>
          <a:xfrm>
            <a:off x="695326" y="1511528"/>
            <a:ext cx="10801350" cy="5539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3600" noProof="0"/>
              <a:t>Lasst uns </a:t>
            </a:r>
            <a:r>
              <a:rPr lang="de-DE" sz="3600" noProof="0">
                <a:gradFill flip="none" rotWithShape="1">
                  <a:gsLst>
                    <a:gs pos="50000">
                      <a:schemeClr val="accent4"/>
                    </a:gs>
                    <a:gs pos="35000">
                      <a:schemeClr val="accent2"/>
                    </a:gs>
                    <a:gs pos="66000">
                      <a:schemeClr val="accent5"/>
                    </a:gs>
                  </a:gsLst>
                  <a:lin ang="0" scaled="1"/>
                  <a:tileRect/>
                </a:gradFill>
              </a:rPr>
              <a:t>2 Minuten </a:t>
            </a:r>
            <a:r>
              <a:rPr lang="de-DE" sz="3600" noProof="0"/>
              <a:t>nehmen</a:t>
            </a:r>
            <a:endParaRPr lang="de-DE" sz="3600" b="0" noProof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BB5A63A2-8788-3A51-7B9E-730C2A2FBAB5}"/>
              </a:ext>
            </a:extLst>
          </p:cNvPr>
          <p:cNvSpPr txBox="1">
            <a:spLocks/>
          </p:cNvSpPr>
          <p:nvPr/>
        </p:nvSpPr>
        <p:spPr bwMode="gray">
          <a:xfrm>
            <a:off x="2381217" y="3413176"/>
            <a:ext cx="292962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2400"/>
              <a:t>Woher bekommen </a:t>
            </a:r>
            <a:br>
              <a:rPr lang="de-DE" sz="2400"/>
            </a:br>
            <a:r>
              <a:rPr lang="de-DE" sz="2400"/>
              <a:t>wir unsere </a:t>
            </a:r>
            <a:r>
              <a:rPr lang="de-DE" sz="2400" b="1"/>
              <a:t>Energie</a:t>
            </a:r>
            <a:r>
              <a:rPr lang="de-DE" sz="2400"/>
              <a:t>?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CA51E4D8-9E87-CD93-9127-C4C246C822D3}"/>
              </a:ext>
            </a:extLst>
          </p:cNvPr>
          <p:cNvSpPr txBox="1">
            <a:spLocks/>
          </p:cNvSpPr>
          <p:nvPr/>
        </p:nvSpPr>
        <p:spPr bwMode="gray">
          <a:xfrm>
            <a:off x="6551578" y="3413176"/>
            <a:ext cx="2372999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2400"/>
              <a:t>Wie sieht unsere</a:t>
            </a:r>
            <a:br>
              <a:rPr lang="de-DE" sz="2400"/>
            </a:br>
            <a:r>
              <a:rPr lang="de-DE" sz="2400" b="1"/>
              <a:t>Mobilität</a:t>
            </a:r>
            <a:r>
              <a:rPr lang="de-DE" sz="2400"/>
              <a:t> aus? 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8C20BFCA-42FB-25CA-3B02-EE120A577EB1}"/>
              </a:ext>
            </a:extLst>
          </p:cNvPr>
          <p:cNvSpPr txBox="1">
            <a:spLocks/>
          </p:cNvSpPr>
          <p:nvPr/>
        </p:nvSpPr>
        <p:spPr bwMode="gray">
          <a:xfrm>
            <a:off x="2381217" y="4521603"/>
            <a:ext cx="254511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2400"/>
              <a:t>Wie begleitet </a:t>
            </a:r>
            <a:br>
              <a:rPr lang="de-DE" sz="2400"/>
            </a:br>
            <a:r>
              <a:rPr lang="de-DE" sz="2400"/>
              <a:t>uns </a:t>
            </a:r>
            <a:r>
              <a:rPr lang="de-DE" sz="2400" b="1"/>
              <a:t>KI</a:t>
            </a:r>
            <a:r>
              <a:rPr lang="de-DE" sz="2400"/>
              <a:t> im Alltag?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658963DE-2B18-329D-5B4B-D7AB11DE776A}"/>
              </a:ext>
            </a:extLst>
          </p:cNvPr>
          <p:cNvSpPr txBox="1">
            <a:spLocks/>
          </p:cNvSpPr>
          <p:nvPr/>
        </p:nvSpPr>
        <p:spPr bwMode="gray">
          <a:xfrm>
            <a:off x="-8316913" y="3413176"/>
            <a:ext cx="8316913" cy="73866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2400" b="1"/>
              <a:t>Wie sieht ein zukunftsfähiges Unternehmen </a:t>
            </a:r>
            <a:br>
              <a:rPr lang="de-DE" sz="2400" b="1"/>
            </a:br>
            <a:r>
              <a:rPr lang="de-DE" sz="2400" b="1"/>
              <a:t>in 2040 in Deiner Industrie aus?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25B48038-E69D-1EF8-F796-13B9B22835C3}"/>
              </a:ext>
            </a:extLst>
          </p:cNvPr>
          <p:cNvSpPr txBox="1">
            <a:spLocks/>
          </p:cNvSpPr>
          <p:nvPr/>
        </p:nvSpPr>
        <p:spPr bwMode="gray">
          <a:xfrm>
            <a:off x="6551578" y="4521603"/>
            <a:ext cx="2677421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67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7305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 typeface="Avenir Next LT Pro" panose="020B05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venir Next LT Pro" panose="020B0504020202020204" pitchFamily="34" charset="0"/>
              <a:buNone/>
            </a:pPr>
            <a:r>
              <a:rPr lang="de-DE" sz="2400"/>
              <a:t>Wie pflegen wir </a:t>
            </a:r>
            <a:r>
              <a:rPr lang="de-DE" sz="2400" b="1"/>
              <a:t>soziale Kontakte</a:t>
            </a:r>
            <a:r>
              <a:rPr lang="de-DE" sz="240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438806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5185E-6 L 0 0.0386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7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235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985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985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4985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9" grpId="0"/>
      <p:bldP spid="9" grpId="1"/>
      <p:bldP spid="17" grpId="0"/>
      <p:bldP spid="18" grpId="0"/>
      <p:bldP spid="19" grpId="0"/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tafinanz">
  <a:themeElements>
    <a:clrScheme name="Benutzerdefiniert 58">
      <a:dk1>
        <a:srgbClr val="074440"/>
      </a:dk1>
      <a:lt1>
        <a:sysClr val="window" lastClr="FFFFFF"/>
      </a:lt1>
      <a:dk2>
        <a:srgbClr val="000000"/>
      </a:dk2>
      <a:lt2>
        <a:srgbClr val="FFFCD9"/>
      </a:lt2>
      <a:accent1>
        <a:srgbClr val="074440"/>
      </a:accent1>
      <a:accent2>
        <a:srgbClr val="64E100"/>
      </a:accent2>
      <a:accent3>
        <a:srgbClr val="CAE900"/>
      </a:accent3>
      <a:accent4>
        <a:srgbClr val="FDE600"/>
      </a:accent4>
      <a:accent5>
        <a:srgbClr val="FFBEAA"/>
      </a:accent5>
      <a:accent6>
        <a:srgbClr val="1F004C"/>
      </a:accent6>
      <a:hlink>
        <a:srgbClr val="074440"/>
      </a:hlink>
      <a:folHlink>
        <a:srgbClr val="074440"/>
      </a:folHlink>
    </a:clrScheme>
    <a:fontScheme name="Benutzerdefiniert 56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500"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sz="15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etafinanz_PowerPoint.potx" id="{56546395-043A-4C7E-A2DF-5F310B80863F}" vid="{0552C041-8F79-411B-AAD3-4CC2754B422B}"/>
    </a:ext>
  </a:extLst>
</a:theme>
</file>

<file path=ppt/theme/theme2.xml><?xml version="1.0" encoding="utf-8"?>
<a:theme xmlns:a="http://schemas.openxmlformats.org/drawingml/2006/main" name="Office">
  <a:themeElements>
    <a:clrScheme name="Benutzerdefiniert 57">
      <a:dk1>
        <a:srgbClr val="074440"/>
      </a:dk1>
      <a:lt1>
        <a:sysClr val="window" lastClr="FFFFFF"/>
      </a:lt1>
      <a:dk2>
        <a:srgbClr val="7F7F7F"/>
      </a:dk2>
      <a:lt2>
        <a:srgbClr val="FFFCD9"/>
      </a:lt2>
      <a:accent1>
        <a:srgbClr val="074440"/>
      </a:accent1>
      <a:accent2>
        <a:srgbClr val="64E100"/>
      </a:accent2>
      <a:accent3>
        <a:srgbClr val="CAE900"/>
      </a:accent3>
      <a:accent4>
        <a:srgbClr val="FDE600"/>
      </a:accent4>
      <a:accent5>
        <a:srgbClr val="FFBEAA"/>
      </a:accent5>
      <a:accent6>
        <a:srgbClr val="1F004C"/>
      </a:accent6>
      <a:hlink>
        <a:srgbClr val="000000"/>
      </a:hlink>
      <a:folHlink>
        <a:srgbClr val="000000"/>
      </a:folHlink>
    </a:clrScheme>
    <a:fontScheme name="Benutzerdefiniert 56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enutzerdefiniert 57">
      <a:dk1>
        <a:srgbClr val="074440"/>
      </a:dk1>
      <a:lt1>
        <a:sysClr val="window" lastClr="FFFFFF"/>
      </a:lt1>
      <a:dk2>
        <a:srgbClr val="7F7F7F"/>
      </a:dk2>
      <a:lt2>
        <a:srgbClr val="FFFCD9"/>
      </a:lt2>
      <a:accent1>
        <a:srgbClr val="074440"/>
      </a:accent1>
      <a:accent2>
        <a:srgbClr val="64E100"/>
      </a:accent2>
      <a:accent3>
        <a:srgbClr val="CAE900"/>
      </a:accent3>
      <a:accent4>
        <a:srgbClr val="FDE600"/>
      </a:accent4>
      <a:accent5>
        <a:srgbClr val="FFBEAA"/>
      </a:accent5>
      <a:accent6>
        <a:srgbClr val="1F004C"/>
      </a:accent6>
      <a:hlink>
        <a:srgbClr val="000000"/>
      </a:hlink>
      <a:folHlink>
        <a:srgbClr val="000000"/>
      </a:folHlink>
    </a:clrScheme>
    <a:fontScheme name="Benutzerdefiniert 56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65b76ff-bec3-4bc5-a47c-a832a0dd0c4e" xsi:nil="true"/>
    <lcf76f155ced4ddcb4097134ff3c332f xmlns="31d23545-dd27-4412-a650-2edd2f6119ee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8946B64951C8F4ABAD5607282FF38D9" ma:contentTypeVersion="12" ma:contentTypeDescription="Ein neues Dokument erstellen." ma:contentTypeScope="" ma:versionID="8d1d05c810215b3e39a51bb4ed7419a2">
  <xsd:schema xmlns:xsd="http://www.w3.org/2001/XMLSchema" xmlns:xs="http://www.w3.org/2001/XMLSchema" xmlns:p="http://schemas.microsoft.com/office/2006/metadata/properties" xmlns:ns2="31d23545-dd27-4412-a650-2edd2f6119ee" xmlns:ns3="965b76ff-bec3-4bc5-a47c-a832a0dd0c4e" targetNamespace="http://schemas.microsoft.com/office/2006/metadata/properties" ma:root="true" ma:fieldsID="a81bd84e4b4af174bf87b833ed0cb625" ns2:_="" ns3:_="">
    <xsd:import namespace="31d23545-dd27-4412-a650-2edd2f6119ee"/>
    <xsd:import namespace="965b76ff-bec3-4bc5-a47c-a832a0dd0c4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d23545-dd27-4412-a650-2edd2f6119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2763cd5c-6bd4-4ede-b1a1-9aa5601a173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5b76ff-bec3-4bc5-a47c-a832a0dd0c4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c6f9b2ce-5bd4-4d9f-a64f-c0444dc9fd53}" ma:internalName="TaxCatchAll" ma:showField="CatchAllData" ma:web="965b76ff-bec3-4bc5-a47c-a832a0dd0c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E37F22C-D0CD-4C91-A2BB-63DB2E1D1045}">
  <ds:schemaRefs>
    <ds:schemaRef ds:uri="31d23545-dd27-4412-a650-2edd2f6119ee"/>
    <ds:schemaRef ds:uri="965b76ff-bec3-4bc5-a47c-a832a0dd0c4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C3B6CA0-429B-47FA-9035-F41BE0093A76}">
  <ds:schemaRefs>
    <ds:schemaRef ds:uri="31d23545-dd27-4412-a650-2edd2f6119ee"/>
    <ds:schemaRef ds:uri="965b76ff-bec3-4bc5-a47c-a832a0dd0c4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1924C9B-830C-4099-AACD-6443983A78B6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c0220965-8abc-4e4b-aa78-bf58f33dbfa6}" enabled="0" method="" siteId="{c0220965-8abc-4e4b-aa78-bf58f33dbfa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metafinanz_PowerPoint</Template>
  <Application>Microsoft Office PowerPoint</Application>
  <PresentationFormat>Widescreen</PresentationFormat>
  <Slides>18</Slides>
  <Notes>9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19" baseType="lpstr">
      <vt:lpstr>metafinanz</vt:lpstr>
      <vt:lpstr>Zukunftsbild gestalten</vt:lpstr>
      <vt:lpstr>Wir bringen Zukunftsfähigkeit ans Licht.</vt:lpstr>
      <vt:lpstr>Zukunftsmutig, zugewandt, zupackend. </vt:lpstr>
      <vt:lpstr>Wir machen Unternehmen zukunftsfähig,  indem wir…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r bringen  Zukunftsfähigkeit  ans Licht.</dc:title>
  <dc:creator>Jan Schmidt</dc:creator>
  <cp:revision>10</cp:revision>
  <dcterms:created xsi:type="dcterms:W3CDTF">2023-11-06T12:25:48Z</dcterms:created>
  <dcterms:modified xsi:type="dcterms:W3CDTF">2025-06-10T07:3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a6f1113-2085-46c9-94e2-ecc28883efd0_Enabled">
    <vt:lpwstr>true</vt:lpwstr>
  </property>
  <property fmtid="{D5CDD505-2E9C-101B-9397-08002B2CF9AE}" pid="3" name="MSIP_Label_ca6f1113-2085-46c9-94e2-ecc28883efd0_SetDate">
    <vt:lpwstr>2023-11-06T12:26:45Z</vt:lpwstr>
  </property>
  <property fmtid="{D5CDD505-2E9C-101B-9397-08002B2CF9AE}" pid="4" name="MSIP_Label_ca6f1113-2085-46c9-94e2-ecc28883efd0_Method">
    <vt:lpwstr>Standard</vt:lpwstr>
  </property>
  <property fmtid="{D5CDD505-2E9C-101B-9397-08002B2CF9AE}" pid="5" name="MSIP_Label_ca6f1113-2085-46c9-94e2-ecc28883efd0_Name">
    <vt:lpwstr>Intern New</vt:lpwstr>
  </property>
  <property fmtid="{D5CDD505-2E9C-101B-9397-08002B2CF9AE}" pid="6" name="MSIP_Label_ca6f1113-2085-46c9-94e2-ecc28883efd0_SiteId">
    <vt:lpwstr>b0bbfcf0-2801-4b1d-b2cd-32c8f93dc764</vt:lpwstr>
  </property>
  <property fmtid="{D5CDD505-2E9C-101B-9397-08002B2CF9AE}" pid="7" name="MSIP_Label_ca6f1113-2085-46c9-94e2-ecc28883efd0_ActionId">
    <vt:lpwstr>31fa07c1-7444-4b66-ac97-5a3b0750aa35</vt:lpwstr>
  </property>
  <property fmtid="{D5CDD505-2E9C-101B-9397-08002B2CF9AE}" pid="8" name="MSIP_Label_ca6f1113-2085-46c9-94e2-ecc28883efd0_ContentBits">
    <vt:lpwstr>2</vt:lpwstr>
  </property>
  <property fmtid="{D5CDD505-2E9C-101B-9397-08002B2CF9AE}" pid="9" name="ClassificationContentMarkingFooterLocations">
    <vt:lpwstr>metafinanz:8</vt:lpwstr>
  </property>
  <property fmtid="{D5CDD505-2E9C-101B-9397-08002B2CF9AE}" pid="10" name="ClassificationContentMarkingFooterText">
    <vt:lpwstr>Klassifizierung: Intern</vt:lpwstr>
  </property>
  <property fmtid="{D5CDD505-2E9C-101B-9397-08002B2CF9AE}" pid="11" name="ContentTypeId">
    <vt:lpwstr>0x01010018946B64951C8F4ABAD5607282FF38D9</vt:lpwstr>
  </property>
  <property fmtid="{D5CDD505-2E9C-101B-9397-08002B2CF9AE}" pid="12" name="MediaServiceImageTags">
    <vt:lpwstr/>
  </property>
</Properties>
</file>